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57" r:id="rId2"/>
    <p:sldId id="261" r:id="rId3"/>
    <p:sldId id="262" r:id="rId4"/>
    <p:sldId id="2147472866" r:id="rId5"/>
    <p:sldId id="256" r:id="rId6"/>
    <p:sldId id="264" r:id="rId7"/>
    <p:sldId id="2147472874" r:id="rId8"/>
    <p:sldId id="2147472865" r:id="rId9"/>
    <p:sldId id="2147472867" r:id="rId10"/>
    <p:sldId id="2147472864" r:id="rId11"/>
    <p:sldId id="2147472868" r:id="rId12"/>
    <p:sldId id="293" r:id="rId13"/>
    <p:sldId id="2147472872" r:id="rId14"/>
    <p:sldId id="2147472871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47474"/>
    <a:srgbClr val="8B0000"/>
    <a:srgbClr val="3A3A3A"/>
    <a:srgbClr val="DC9898"/>
    <a:srgbClr val="C76565"/>
    <a:srgbClr val="B53737"/>
    <a:srgbClr val="DE9A9A"/>
    <a:srgbClr val="E9BDBD"/>
    <a:srgbClr val="B8291E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73200CA-EA42-426C-A8E4-F81830494491}" v="145" dt="2024-10-12T16:46:39.82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799" autoAdjust="0"/>
    <p:restoredTop sz="94660"/>
  </p:normalViewPr>
  <p:slideViewPr>
    <p:cSldViewPr snapToGrid="0">
      <p:cViewPr>
        <p:scale>
          <a:sx n="110" d="100"/>
          <a:sy n="110" d="100"/>
        </p:scale>
        <p:origin x="930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iel Cole" userId="f20a75f9320a1647" providerId="LiveId" clId="{42D3E951-AF5C-4164-98AB-2347A3B6E1E6}"/>
    <pc:docChg chg="undo redo custSel addSld delSld modSld sldOrd">
      <pc:chgData name="Daniel Cole" userId="f20a75f9320a1647" providerId="LiveId" clId="{42D3E951-AF5C-4164-98AB-2347A3B6E1E6}" dt="2024-04-03T19:53:39.501" v="37834" actId="20577"/>
      <pc:docMkLst>
        <pc:docMk/>
      </pc:docMkLst>
      <pc:sldChg chg="addSp delSp modSp add mod setBg">
        <pc:chgData name="Daniel Cole" userId="f20a75f9320a1647" providerId="LiveId" clId="{42D3E951-AF5C-4164-98AB-2347A3B6E1E6}" dt="2024-03-23T20:34:51.624" v="19438" actId="14100"/>
        <pc:sldMkLst>
          <pc:docMk/>
          <pc:sldMk cId="2317507080" sldId="256"/>
        </pc:sldMkLst>
        <pc:spChg chg="add mod">
          <ac:chgData name="Daniel Cole" userId="f20a75f9320a1647" providerId="LiveId" clId="{42D3E951-AF5C-4164-98AB-2347A3B6E1E6}" dt="2024-03-21T19:25:51.309" v="19149" actId="20577"/>
          <ac:spMkLst>
            <pc:docMk/>
            <pc:sldMk cId="2317507080" sldId="256"/>
            <ac:spMk id="2" creationId="{6704379B-DC3D-C6F6-270C-485CAD2834CF}"/>
          </ac:spMkLst>
        </pc:spChg>
        <pc:spChg chg="add del mod">
          <ac:chgData name="Daniel Cole" userId="f20a75f9320a1647" providerId="LiveId" clId="{42D3E951-AF5C-4164-98AB-2347A3B6E1E6}" dt="2024-03-21T19:11:50.360" v="18894" actId="478"/>
          <ac:spMkLst>
            <pc:docMk/>
            <pc:sldMk cId="2317507080" sldId="256"/>
            <ac:spMk id="3" creationId="{69B26820-FA03-1EA4-85EE-D4700767824E}"/>
          </ac:spMkLst>
        </pc:spChg>
        <pc:spChg chg="add del mod">
          <ac:chgData name="Daniel Cole" userId="f20a75f9320a1647" providerId="LiveId" clId="{42D3E951-AF5C-4164-98AB-2347A3B6E1E6}" dt="2024-03-18T23:04:38.438" v="2532"/>
          <ac:spMkLst>
            <pc:docMk/>
            <pc:sldMk cId="2317507080" sldId="256"/>
            <ac:spMk id="3" creationId="{880CD01E-975A-D306-2CFC-E635FDFF0EA2}"/>
          </ac:spMkLst>
        </pc:spChg>
        <pc:spChg chg="del mod">
          <ac:chgData name="Daniel Cole" userId="f20a75f9320a1647" providerId="LiveId" clId="{42D3E951-AF5C-4164-98AB-2347A3B6E1E6}" dt="2024-03-21T19:11:55.586" v="18896" actId="478"/>
          <ac:spMkLst>
            <pc:docMk/>
            <pc:sldMk cId="2317507080" sldId="256"/>
            <ac:spMk id="8" creationId="{DBB0259D-182E-8F91-889A-314972D996F2}"/>
          </ac:spMkLst>
        </pc:spChg>
        <pc:spChg chg="add del mod">
          <ac:chgData name="Daniel Cole" userId="f20a75f9320a1647" providerId="LiveId" clId="{42D3E951-AF5C-4164-98AB-2347A3B6E1E6}" dt="2024-03-18T23:20:35.880" v="2754" actId="478"/>
          <ac:spMkLst>
            <pc:docMk/>
            <pc:sldMk cId="2317507080" sldId="256"/>
            <ac:spMk id="9" creationId="{F9412F44-3759-9909-5766-51BC8D1C1F02}"/>
          </ac:spMkLst>
        </pc:spChg>
        <pc:spChg chg="add mod topLvl">
          <ac:chgData name="Daniel Cole" userId="f20a75f9320a1647" providerId="LiveId" clId="{42D3E951-AF5C-4164-98AB-2347A3B6E1E6}" dt="2024-03-21T19:30:08.726" v="19249" actId="20577"/>
          <ac:spMkLst>
            <pc:docMk/>
            <pc:sldMk cId="2317507080" sldId="256"/>
            <ac:spMk id="10" creationId="{F9B50338-C67B-8AF3-BF56-4D7CC254BFEE}"/>
          </ac:spMkLst>
        </pc:spChg>
        <pc:spChg chg="mod">
          <ac:chgData name="Daniel Cole" userId="f20a75f9320a1647" providerId="LiveId" clId="{42D3E951-AF5C-4164-98AB-2347A3B6E1E6}" dt="2024-03-21T17:35:50.373" v="17293" actId="14100"/>
          <ac:spMkLst>
            <pc:docMk/>
            <pc:sldMk cId="2317507080" sldId="256"/>
            <ac:spMk id="11" creationId="{05553217-F578-477E-984A-6ECC82C5468C}"/>
          </ac:spMkLst>
        </pc:spChg>
        <pc:spChg chg="mod">
          <ac:chgData name="Daniel Cole" userId="f20a75f9320a1647" providerId="LiveId" clId="{42D3E951-AF5C-4164-98AB-2347A3B6E1E6}" dt="2024-03-21T09:13:07.389" v="8602" actId="165"/>
          <ac:spMkLst>
            <pc:docMk/>
            <pc:sldMk cId="2317507080" sldId="256"/>
            <ac:spMk id="13" creationId="{7911FA3D-CB46-7CA9-A063-EA10F4B9A911}"/>
          </ac:spMkLst>
        </pc:spChg>
        <pc:spChg chg="mod">
          <ac:chgData name="Daniel Cole" userId="f20a75f9320a1647" providerId="LiveId" clId="{42D3E951-AF5C-4164-98AB-2347A3B6E1E6}" dt="2024-03-21T09:13:07.389" v="8602" actId="165"/>
          <ac:spMkLst>
            <pc:docMk/>
            <pc:sldMk cId="2317507080" sldId="256"/>
            <ac:spMk id="16" creationId="{66EF0F4E-C467-2067-D2E8-1F138961E8D7}"/>
          </ac:spMkLst>
        </pc:spChg>
        <pc:spChg chg="mod">
          <ac:chgData name="Daniel Cole" userId="f20a75f9320a1647" providerId="LiveId" clId="{42D3E951-AF5C-4164-98AB-2347A3B6E1E6}" dt="2024-03-21T09:13:07.389" v="8602" actId="165"/>
          <ac:spMkLst>
            <pc:docMk/>
            <pc:sldMk cId="2317507080" sldId="256"/>
            <ac:spMk id="17" creationId="{F460EAC3-E716-B0F3-4495-61351786C8E2}"/>
          </ac:spMkLst>
        </pc:spChg>
        <pc:spChg chg="mod">
          <ac:chgData name="Daniel Cole" userId="f20a75f9320a1647" providerId="LiveId" clId="{42D3E951-AF5C-4164-98AB-2347A3B6E1E6}" dt="2024-03-21T09:13:07.389" v="8602" actId="165"/>
          <ac:spMkLst>
            <pc:docMk/>
            <pc:sldMk cId="2317507080" sldId="256"/>
            <ac:spMk id="18" creationId="{2D51A6E3-818F-18A7-1F5A-0D59F04154BD}"/>
          </ac:spMkLst>
        </pc:spChg>
        <pc:spChg chg="mod">
          <ac:chgData name="Daniel Cole" userId="f20a75f9320a1647" providerId="LiveId" clId="{42D3E951-AF5C-4164-98AB-2347A3B6E1E6}" dt="2024-03-21T09:13:07.389" v="8602" actId="165"/>
          <ac:spMkLst>
            <pc:docMk/>
            <pc:sldMk cId="2317507080" sldId="256"/>
            <ac:spMk id="19" creationId="{A84661DF-5949-4989-3A7C-BBD4F9E7EA9E}"/>
          </ac:spMkLst>
        </pc:spChg>
        <pc:spChg chg="mod topLvl">
          <ac:chgData name="Daniel Cole" userId="f20a75f9320a1647" providerId="LiveId" clId="{42D3E951-AF5C-4164-98AB-2347A3B6E1E6}" dt="2024-03-21T19:26:33.675" v="19153" actId="1076"/>
          <ac:spMkLst>
            <pc:docMk/>
            <pc:sldMk cId="2317507080" sldId="256"/>
            <ac:spMk id="22" creationId="{366AC427-F024-05C8-B07D-36CB53F26FA7}"/>
          </ac:spMkLst>
        </pc:spChg>
        <pc:spChg chg="mod topLvl">
          <ac:chgData name="Daniel Cole" userId="f20a75f9320a1647" providerId="LiveId" clId="{42D3E951-AF5C-4164-98AB-2347A3B6E1E6}" dt="2024-03-21T19:26:33.675" v="19153" actId="1076"/>
          <ac:spMkLst>
            <pc:docMk/>
            <pc:sldMk cId="2317507080" sldId="256"/>
            <ac:spMk id="23" creationId="{A843CE20-EFFD-71D0-4FC6-EEB1A2DB04F9}"/>
          </ac:spMkLst>
        </pc:spChg>
        <pc:spChg chg="mod topLvl">
          <ac:chgData name="Daniel Cole" userId="f20a75f9320a1647" providerId="LiveId" clId="{42D3E951-AF5C-4164-98AB-2347A3B6E1E6}" dt="2024-03-21T19:26:33.675" v="19153" actId="1076"/>
          <ac:spMkLst>
            <pc:docMk/>
            <pc:sldMk cId="2317507080" sldId="256"/>
            <ac:spMk id="24" creationId="{22999286-15E3-4D1E-2B0F-293119D31F3A}"/>
          </ac:spMkLst>
        </pc:spChg>
        <pc:spChg chg="mod topLvl">
          <ac:chgData name="Daniel Cole" userId="f20a75f9320a1647" providerId="LiveId" clId="{42D3E951-AF5C-4164-98AB-2347A3B6E1E6}" dt="2024-03-21T19:31:02.360" v="19265" actId="1038"/>
          <ac:spMkLst>
            <pc:docMk/>
            <pc:sldMk cId="2317507080" sldId="256"/>
            <ac:spMk id="27" creationId="{93DF6432-15E6-208D-B490-EB0B3290F030}"/>
          </ac:spMkLst>
        </pc:spChg>
        <pc:spChg chg="mod">
          <ac:chgData name="Daniel Cole" userId="f20a75f9320a1647" providerId="LiveId" clId="{42D3E951-AF5C-4164-98AB-2347A3B6E1E6}" dt="2024-03-21T09:34:40.010" v="8685" actId="165"/>
          <ac:spMkLst>
            <pc:docMk/>
            <pc:sldMk cId="2317507080" sldId="256"/>
            <ac:spMk id="30" creationId="{411384FA-C099-74C3-46EA-5FC4D35E2F6D}"/>
          </ac:spMkLst>
        </pc:spChg>
        <pc:spChg chg="mod">
          <ac:chgData name="Daniel Cole" userId="f20a75f9320a1647" providerId="LiveId" clId="{42D3E951-AF5C-4164-98AB-2347A3B6E1E6}" dt="2024-03-21T09:34:40.010" v="8685" actId="165"/>
          <ac:spMkLst>
            <pc:docMk/>
            <pc:sldMk cId="2317507080" sldId="256"/>
            <ac:spMk id="31" creationId="{17F185E7-B59B-043F-D330-168D357E8D76}"/>
          </ac:spMkLst>
        </pc:spChg>
        <pc:spChg chg="mod">
          <ac:chgData name="Daniel Cole" userId="f20a75f9320a1647" providerId="LiveId" clId="{42D3E951-AF5C-4164-98AB-2347A3B6E1E6}" dt="2024-03-21T09:34:40.010" v="8685" actId="165"/>
          <ac:spMkLst>
            <pc:docMk/>
            <pc:sldMk cId="2317507080" sldId="256"/>
            <ac:spMk id="32" creationId="{8E9B829D-28BE-9C32-AF37-332D918B20C8}"/>
          </ac:spMkLst>
        </pc:spChg>
        <pc:spChg chg="mod">
          <ac:chgData name="Daniel Cole" userId="f20a75f9320a1647" providerId="LiveId" clId="{42D3E951-AF5C-4164-98AB-2347A3B6E1E6}" dt="2024-03-21T09:34:40.010" v="8685" actId="165"/>
          <ac:spMkLst>
            <pc:docMk/>
            <pc:sldMk cId="2317507080" sldId="256"/>
            <ac:spMk id="33" creationId="{46C89AD9-A910-69DB-2A44-E7606077DEC9}"/>
          </ac:spMkLst>
        </pc:spChg>
        <pc:spChg chg="mod topLvl">
          <ac:chgData name="Daniel Cole" userId="f20a75f9320a1647" providerId="LiveId" clId="{42D3E951-AF5C-4164-98AB-2347A3B6E1E6}" dt="2024-03-21T19:31:02.360" v="19265" actId="1038"/>
          <ac:spMkLst>
            <pc:docMk/>
            <pc:sldMk cId="2317507080" sldId="256"/>
            <ac:spMk id="35" creationId="{FD195289-92B7-0E81-25C4-C13203E604F2}"/>
          </ac:spMkLst>
        </pc:spChg>
        <pc:spChg chg="mod topLvl">
          <ac:chgData name="Daniel Cole" userId="f20a75f9320a1647" providerId="LiveId" clId="{42D3E951-AF5C-4164-98AB-2347A3B6E1E6}" dt="2024-03-21T19:31:02.360" v="19265" actId="1038"/>
          <ac:spMkLst>
            <pc:docMk/>
            <pc:sldMk cId="2317507080" sldId="256"/>
            <ac:spMk id="36" creationId="{03BF4F9E-903B-7B88-887F-13E82BCF5994}"/>
          </ac:spMkLst>
        </pc:spChg>
        <pc:spChg chg="mod topLvl">
          <ac:chgData name="Daniel Cole" userId="f20a75f9320a1647" providerId="LiveId" clId="{42D3E951-AF5C-4164-98AB-2347A3B6E1E6}" dt="2024-03-21T19:31:02.360" v="19265" actId="1038"/>
          <ac:spMkLst>
            <pc:docMk/>
            <pc:sldMk cId="2317507080" sldId="256"/>
            <ac:spMk id="37" creationId="{80EBF30A-7766-F91B-587C-968343DD3BA7}"/>
          </ac:spMkLst>
        </pc:spChg>
        <pc:spChg chg="add mod">
          <ac:chgData name="Daniel Cole" userId="f20a75f9320a1647" providerId="LiveId" clId="{42D3E951-AF5C-4164-98AB-2347A3B6E1E6}" dt="2024-03-21T09:38:33.232" v="8760" actId="1076"/>
          <ac:spMkLst>
            <pc:docMk/>
            <pc:sldMk cId="2317507080" sldId="256"/>
            <ac:spMk id="39" creationId="{EBB7183A-2075-6B18-9A61-6E91BF144320}"/>
          </ac:spMkLst>
        </pc:spChg>
        <pc:spChg chg="add del mod">
          <ac:chgData name="Daniel Cole" userId="f20a75f9320a1647" providerId="LiveId" clId="{42D3E951-AF5C-4164-98AB-2347A3B6E1E6}" dt="2024-03-19T00:16:47.791" v="4114" actId="478"/>
          <ac:spMkLst>
            <pc:docMk/>
            <pc:sldMk cId="2317507080" sldId="256"/>
            <ac:spMk id="43" creationId="{9FF2AAD0-962B-F683-AD66-BB613EE15D1F}"/>
          </ac:spMkLst>
        </pc:spChg>
        <pc:spChg chg="add del mod">
          <ac:chgData name="Daniel Cole" userId="f20a75f9320a1647" providerId="LiveId" clId="{42D3E951-AF5C-4164-98AB-2347A3B6E1E6}" dt="2024-03-21T14:53:07.380" v="14127" actId="478"/>
          <ac:spMkLst>
            <pc:docMk/>
            <pc:sldMk cId="2317507080" sldId="256"/>
            <ac:spMk id="45" creationId="{647C9B1D-2BC0-7D63-0D2A-97D9523B818A}"/>
          </ac:spMkLst>
        </pc:spChg>
        <pc:spChg chg="add mod">
          <ac:chgData name="Daniel Cole" userId="f20a75f9320a1647" providerId="LiveId" clId="{42D3E951-AF5C-4164-98AB-2347A3B6E1E6}" dt="2024-03-21T17:39:37.042" v="17398" actId="1037"/>
          <ac:spMkLst>
            <pc:docMk/>
            <pc:sldMk cId="2317507080" sldId="256"/>
            <ac:spMk id="46" creationId="{BDFFE74D-BA7C-809D-2E8E-6A33DF78DBCA}"/>
          </ac:spMkLst>
        </pc:spChg>
        <pc:spChg chg="add mod topLvl">
          <ac:chgData name="Daniel Cole" userId="f20a75f9320a1647" providerId="LiveId" clId="{42D3E951-AF5C-4164-98AB-2347A3B6E1E6}" dt="2024-03-21T17:34:16.201" v="17266" actId="207"/>
          <ac:spMkLst>
            <pc:docMk/>
            <pc:sldMk cId="2317507080" sldId="256"/>
            <ac:spMk id="52" creationId="{0D657453-2575-771F-90EC-F547817917B9}"/>
          </ac:spMkLst>
        </pc:spChg>
        <pc:spChg chg="add del mod topLvl">
          <ac:chgData name="Daniel Cole" userId="f20a75f9320a1647" providerId="LiveId" clId="{42D3E951-AF5C-4164-98AB-2347A3B6E1E6}" dt="2024-03-21T10:24:13.245" v="9555"/>
          <ac:spMkLst>
            <pc:docMk/>
            <pc:sldMk cId="2317507080" sldId="256"/>
            <ac:spMk id="53" creationId="{7D7E7410-58E5-64EC-DB01-6AF0DC984236}"/>
          </ac:spMkLst>
        </pc:spChg>
        <pc:spChg chg="add mod topLvl">
          <ac:chgData name="Daniel Cole" userId="f20a75f9320a1647" providerId="LiveId" clId="{42D3E951-AF5C-4164-98AB-2347A3B6E1E6}" dt="2024-03-21T11:57:00.662" v="11026" actId="207"/>
          <ac:spMkLst>
            <pc:docMk/>
            <pc:sldMk cId="2317507080" sldId="256"/>
            <ac:spMk id="54" creationId="{C153522E-EA12-7DAE-5D39-7E3E0B7912A9}"/>
          </ac:spMkLst>
        </pc:spChg>
        <pc:spChg chg="add mod">
          <ac:chgData name="Daniel Cole" userId="f20a75f9320a1647" providerId="LiveId" clId="{42D3E951-AF5C-4164-98AB-2347A3B6E1E6}" dt="2024-03-21T10:26:55.378" v="9587" actId="1076"/>
          <ac:spMkLst>
            <pc:docMk/>
            <pc:sldMk cId="2317507080" sldId="256"/>
            <ac:spMk id="55" creationId="{07467A8A-57F9-E18F-E04D-B12DB3E58DAC}"/>
          </ac:spMkLst>
        </pc:spChg>
        <pc:spChg chg="mod">
          <ac:chgData name="Daniel Cole" userId="f20a75f9320a1647" providerId="LiveId" clId="{42D3E951-AF5C-4164-98AB-2347A3B6E1E6}" dt="2024-03-21T17:35:00.398" v="17277" actId="14100"/>
          <ac:spMkLst>
            <pc:docMk/>
            <pc:sldMk cId="2317507080" sldId="256"/>
            <ac:spMk id="57" creationId="{519C9A80-BC76-D038-DDF0-C1ABD0CFFF91}"/>
          </ac:spMkLst>
        </pc:spChg>
        <pc:spChg chg="add del mod">
          <ac:chgData name="Daniel Cole" userId="f20a75f9320a1647" providerId="LiveId" clId="{42D3E951-AF5C-4164-98AB-2347A3B6E1E6}" dt="2024-03-21T17:34:40.964" v="17273" actId="14100"/>
          <ac:spMkLst>
            <pc:docMk/>
            <pc:sldMk cId="2317507080" sldId="256"/>
            <ac:spMk id="58" creationId="{66359B87-E2C0-0043-CB4D-09FF790E027F}"/>
          </ac:spMkLst>
        </pc:spChg>
        <pc:spChg chg="add del mod">
          <ac:chgData name="Daniel Cole" userId="f20a75f9320a1647" providerId="LiveId" clId="{42D3E951-AF5C-4164-98AB-2347A3B6E1E6}" dt="2024-03-21T17:34:56.772" v="17274" actId="1076"/>
          <ac:spMkLst>
            <pc:docMk/>
            <pc:sldMk cId="2317507080" sldId="256"/>
            <ac:spMk id="59" creationId="{1003A5F3-6D7E-40D8-62FE-0991E4CF9224}"/>
          </ac:spMkLst>
        </pc:spChg>
        <pc:spChg chg="add del mod">
          <ac:chgData name="Daniel Cole" userId="f20a75f9320a1647" providerId="LiveId" clId="{42D3E951-AF5C-4164-98AB-2347A3B6E1E6}" dt="2024-03-21T10:32:06.487" v="9677" actId="478"/>
          <ac:spMkLst>
            <pc:docMk/>
            <pc:sldMk cId="2317507080" sldId="256"/>
            <ac:spMk id="60" creationId="{3B317948-8B4F-4875-FE98-699504A735DC}"/>
          </ac:spMkLst>
        </pc:spChg>
        <pc:spChg chg="mod">
          <ac:chgData name="Daniel Cole" userId="f20a75f9320a1647" providerId="LiveId" clId="{42D3E951-AF5C-4164-98AB-2347A3B6E1E6}" dt="2024-03-21T19:22:36.638" v="19121" actId="207"/>
          <ac:spMkLst>
            <pc:docMk/>
            <pc:sldMk cId="2317507080" sldId="256"/>
            <ac:spMk id="80" creationId="{EF4C9E56-29BD-4090-961A-6F1B1E6D0D20}"/>
          </ac:spMkLst>
        </pc:spChg>
        <pc:spChg chg="add del mod">
          <ac:chgData name="Daniel Cole" userId="f20a75f9320a1647" providerId="LiveId" clId="{42D3E951-AF5C-4164-98AB-2347A3B6E1E6}" dt="2024-03-21T11:56:23.257" v="11021" actId="165"/>
          <ac:spMkLst>
            <pc:docMk/>
            <pc:sldMk cId="2317507080" sldId="256"/>
            <ac:spMk id="84" creationId="{B37B4823-DF30-4F30-9681-38F25EA4ED88}"/>
          </ac:spMkLst>
        </pc:spChg>
        <pc:spChg chg="mod">
          <ac:chgData name="Daniel Cole" userId="f20a75f9320a1647" providerId="LiveId" clId="{42D3E951-AF5C-4164-98AB-2347A3B6E1E6}" dt="2024-03-21T19:22:31.925" v="19120" actId="207"/>
          <ac:spMkLst>
            <pc:docMk/>
            <pc:sldMk cId="2317507080" sldId="256"/>
            <ac:spMk id="86" creationId="{A253FC7A-1A65-4B94-975C-A9C49BEC9891}"/>
          </ac:spMkLst>
        </pc:spChg>
        <pc:spChg chg="mod">
          <ac:chgData name="Daniel Cole" userId="f20a75f9320a1647" providerId="LiveId" clId="{42D3E951-AF5C-4164-98AB-2347A3B6E1E6}" dt="2024-03-21T11:56:23.257" v="11021" actId="165"/>
          <ac:spMkLst>
            <pc:docMk/>
            <pc:sldMk cId="2317507080" sldId="256"/>
            <ac:spMk id="87" creationId="{D8DA3374-3894-4EC9-9E22-3FC21008E942}"/>
          </ac:spMkLst>
        </pc:spChg>
        <pc:spChg chg="mod">
          <ac:chgData name="Daniel Cole" userId="f20a75f9320a1647" providerId="LiveId" clId="{42D3E951-AF5C-4164-98AB-2347A3B6E1E6}" dt="2024-03-21T11:56:23.257" v="11021" actId="165"/>
          <ac:spMkLst>
            <pc:docMk/>
            <pc:sldMk cId="2317507080" sldId="256"/>
            <ac:spMk id="89" creationId="{DB0FA8A6-B51C-4B49-9B80-5CF42A4A5F15}"/>
          </ac:spMkLst>
        </pc:spChg>
        <pc:spChg chg="mod">
          <ac:chgData name="Daniel Cole" userId="f20a75f9320a1647" providerId="LiveId" clId="{42D3E951-AF5C-4164-98AB-2347A3B6E1E6}" dt="2024-03-21T09:08:28.054" v="8418" actId="165"/>
          <ac:spMkLst>
            <pc:docMk/>
            <pc:sldMk cId="2317507080" sldId="256"/>
            <ac:spMk id="92" creationId="{9694EEC7-A72F-479F-811E-CBD1C4B193DA}"/>
          </ac:spMkLst>
        </pc:spChg>
        <pc:spChg chg="mod">
          <ac:chgData name="Daniel Cole" userId="f20a75f9320a1647" providerId="LiveId" clId="{42D3E951-AF5C-4164-98AB-2347A3B6E1E6}" dt="2024-03-21T09:08:28.054" v="8418" actId="165"/>
          <ac:spMkLst>
            <pc:docMk/>
            <pc:sldMk cId="2317507080" sldId="256"/>
            <ac:spMk id="95" creationId="{EA20425C-DAB8-4287-ADD8-BE5B88D31A31}"/>
          </ac:spMkLst>
        </pc:spChg>
        <pc:spChg chg="mod">
          <ac:chgData name="Daniel Cole" userId="f20a75f9320a1647" providerId="LiveId" clId="{42D3E951-AF5C-4164-98AB-2347A3B6E1E6}" dt="2024-03-21T09:08:28.054" v="8418" actId="165"/>
          <ac:spMkLst>
            <pc:docMk/>
            <pc:sldMk cId="2317507080" sldId="256"/>
            <ac:spMk id="96" creationId="{45652C4D-2463-4C92-9D39-6BBB4CBFA9E2}"/>
          </ac:spMkLst>
        </pc:spChg>
        <pc:spChg chg="mod">
          <ac:chgData name="Daniel Cole" userId="f20a75f9320a1647" providerId="LiveId" clId="{42D3E951-AF5C-4164-98AB-2347A3B6E1E6}" dt="2024-03-21T09:08:28.054" v="8418" actId="165"/>
          <ac:spMkLst>
            <pc:docMk/>
            <pc:sldMk cId="2317507080" sldId="256"/>
            <ac:spMk id="97" creationId="{4588C378-C8F1-4E16-ABE2-388E76223E28}"/>
          </ac:spMkLst>
        </pc:spChg>
        <pc:spChg chg="mod">
          <ac:chgData name="Daniel Cole" userId="f20a75f9320a1647" providerId="LiveId" clId="{42D3E951-AF5C-4164-98AB-2347A3B6E1E6}" dt="2024-03-21T09:08:28.054" v="8418" actId="165"/>
          <ac:spMkLst>
            <pc:docMk/>
            <pc:sldMk cId="2317507080" sldId="256"/>
            <ac:spMk id="98" creationId="{51B56A15-9D71-48A0-A355-2367D556FF28}"/>
          </ac:spMkLst>
        </pc:spChg>
        <pc:spChg chg="mod">
          <ac:chgData name="Daniel Cole" userId="f20a75f9320a1647" providerId="LiveId" clId="{42D3E951-AF5C-4164-98AB-2347A3B6E1E6}" dt="2024-03-21T09:14:46.336" v="8624" actId="165"/>
          <ac:spMkLst>
            <pc:docMk/>
            <pc:sldMk cId="2317507080" sldId="256"/>
            <ac:spMk id="100" creationId="{2D79CCD2-0226-4D9C-B3EC-28FF1FAB8929}"/>
          </ac:spMkLst>
        </pc:spChg>
        <pc:spChg chg="mod">
          <ac:chgData name="Daniel Cole" userId="f20a75f9320a1647" providerId="LiveId" clId="{42D3E951-AF5C-4164-98AB-2347A3B6E1E6}" dt="2024-03-21T09:14:46.336" v="8624" actId="165"/>
          <ac:spMkLst>
            <pc:docMk/>
            <pc:sldMk cId="2317507080" sldId="256"/>
            <ac:spMk id="103" creationId="{61A705E4-A4D4-453E-89CE-B382903AE954}"/>
          </ac:spMkLst>
        </pc:spChg>
        <pc:spChg chg="mod">
          <ac:chgData name="Daniel Cole" userId="f20a75f9320a1647" providerId="LiveId" clId="{42D3E951-AF5C-4164-98AB-2347A3B6E1E6}" dt="2024-03-21T09:14:46.336" v="8624" actId="165"/>
          <ac:spMkLst>
            <pc:docMk/>
            <pc:sldMk cId="2317507080" sldId="256"/>
            <ac:spMk id="104" creationId="{DC5EB5CA-F348-4FE4-8DEB-E8C2DD35CFBE}"/>
          </ac:spMkLst>
        </pc:spChg>
        <pc:spChg chg="mod">
          <ac:chgData name="Daniel Cole" userId="f20a75f9320a1647" providerId="LiveId" clId="{42D3E951-AF5C-4164-98AB-2347A3B6E1E6}" dt="2024-03-21T09:14:46.336" v="8624" actId="165"/>
          <ac:spMkLst>
            <pc:docMk/>
            <pc:sldMk cId="2317507080" sldId="256"/>
            <ac:spMk id="105" creationId="{35D63672-51B1-4A0F-8EB6-B2E2B7AFD3A1}"/>
          </ac:spMkLst>
        </pc:spChg>
        <pc:spChg chg="mod">
          <ac:chgData name="Daniel Cole" userId="f20a75f9320a1647" providerId="LiveId" clId="{42D3E951-AF5C-4164-98AB-2347A3B6E1E6}" dt="2024-03-21T09:14:46.336" v="8624" actId="165"/>
          <ac:spMkLst>
            <pc:docMk/>
            <pc:sldMk cId="2317507080" sldId="256"/>
            <ac:spMk id="106" creationId="{B57B7F37-AF4A-4864-BD74-41D5EDCB06A9}"/>
          </ac:spMkLst>
        </pc:spChg>
        <pc:spChg chg="mod">
          <ac:chgData name="Daniel Cole" userId="f20a75f9320a1647" providerId="LiveId" clId="{42D3E951-AF5C-4164-98AB-2347A3B6E1E6}" dt="2024-03-21T09:44:45.158" v="8924" actId="165"/>
          <ac:spMkLst>
            <pc:docMk/>
            <pc:sldMk cId="2317507080" sldId="256"/>
            <ac:spMk id="108" creationId="{64EDD915-8D84-4636-A584-E4026278701A}"/>
          </ac:spMkLst>
        </pc:spChg>
        <pc:spChg chg="mod">
          <ac:chgData name="Daniel Cole" userId="f20a75f9320a1647" providerId="LiveId" clId="{42D3E951-AF5C-4164-98AB-2347A3B6E1E6}" dt="2024-03-21T09:44:45.158" v="8924" actId="165"/>
          <ac:spMkLst>
            <pc:docMk/>
            <pc:sldMk cId="2317507080" sldId="256"/>
            <ac:spMk id="111" creationId="{132277AF-7BAC-4043-A8D9-CAD11292FCD2}"/>
          </ac:spMkLst>
        </pc:spChg>
        <pc:spChg chg="mod">
          <ac:chgData name="Daniel Cole" userId="f20a75f9320a1647" providerId="LiveId" clId="{42D3E951-AF5C-4164-98AB-2347A3B6E1E6}" dt="2024-03-21T09:44:45.158" v="8924" actId="165"/>
          <ac:spMkLst>
            <pc:docMk/>
            <pc:sldMk cId="2317507080" sldId="256"/>
            <ac:spMk id="112" creationId="{B27437B1-0C5A-4C53-BAAA-EB11E8864E97}"/>
          </ac:spMkLst>
        </pc:spChg>
        <pc:spChg chg="mod">
          <ac:chgData name="Daniel Cole" userId="f20a75f9320a1647" providerId="LiveId" clId="{42D3E951-AF5C-4164-98AB-2347A3B6E1E6}" dt="2024-03-21T09:44:45.158" v="8924" actId="165"/>
          <ac:spMkLst>
            <pc:docMk/>
            <pc:sldMk cId="2317507080" sldId="256"/>
            <ac:spMk id="113" creationId="{697C2922-82A2-45C2-A650-057722AD6400}"/>
          </ac:spMkLst>
        </pc:spChg>
        <pc:spChg chg="mod">
          <ac:chgData name="Daniel Cole" userId="f20a75f9320a1647" providerId="LiveId" clId="{42D3E951-AF5C-4164-98AB-2347A3B6E1E6}" dt="2024-03-21T09:44:45.158" v="8924" actId="165"/>
          <ac:spMkLst>
            <pc:docMk/>
            <pc:sldMk cId="2317507080" sldId="256"/>
            <ac:spMk id="114" creationId="{5AB8C4D0-3DE9-4B9F-A0D4-9281C9D6B010}"/>
          </ac:spMkLst>
        </pc:spChg>
        <pc:spChg chg="mod topLvl">
          <ac:chgData name="Daniel Cole" userId="f20a75f9320a1647" providerId="LiveId" clId="{42D3E951-AF5C-4164-98AB-2347A3B6E1E6}" dt="2024-03-21T19:28:57.368" v="19231" actId="1038"/>
          <ac:spMkLst>
            <pc:docMk/>
            <pc:sldMk cId="2317507080" sldId="256"/>
            <ac:spMk id="116" creationId="{FA22ADD4-93CE-46F0-8E55-F363B8E8E73D}"/>
          </ac:spMkLst>
        </pc:spChg>
        <pc:spChg chg="mod">
          <ac:chgData name="Daniel Cole" userId="f20a75f9320a1647" providerId="LiveId" clId="{42D3E951-AF5C-4164-98AB-2347A3B6E1E6}" dt="2024-03-21T09:53:23.243" v="9264" actId="165"/>
          <ac:spMkLst>
            <pc:docMk/>
            <pc:sldMk cId="2317507080" sldId="256"/>
            <ac:spMk id="119" creationId="{776898CD-7CB9-46D1-93B2-0E5942AF0EB7}"/>
          </ac:spMkLst>
        </pc:spChg>
        <pc:spChg chg="mod">
          <ac:chgData name="Daniel Cole" userId="f20a75f9320a1647" providerId="LiveId" clId="{42D3E951-AF5C-4164-98AB-2347A3B6E1E6}" dt="2024-03-21T09:53:23.243" v="9264" actId="165"/>
          <ac:spMkLst>
            <pc:docMk/>
            <pc:sldMk cId="2317507080" sldId="256"/>
            <ac:spMk id="120" creationId="{13CEDD98-8954-4818-B42A-317D10D03614}"/>
          </ac:spMkLst>
        </pc:spChg>
        <pc:spChg chg="mod">
          <ac:chgData name="Daniel Cole" userId="f20a75f9320a1647" providerId="LiveId" clId="{42D3E951-AF5C-4164-98AB-2347A3B6E1E6}" dt="2024-03-21T09:53:23.243" v="9264" actId="165"/>
          <ac:spMkLst>
            <pc:docMk/>
            <pc:sldMk cId="2317507080" sldId="256"/>
            <ac:spMk id="121" creationId="{5A66B926-ECAF-496B-A764-FB3397B460BB}"/>
          </ac:spMkLst>
        </pc:spChg>
        <pc:spChg chg="mod">
          <ac:chgData name="Daniel Cole" userId="f20a75f9320a1647" providerId="LiveId" clId="{42D3E951-AF5C-4164-98AB-2347A3B6E1E6}" dt="2024-03-21T09:53:23.243" v="9264" actId="165"/>
          <ac:spMkLst>
            <pc:docMk/>
            <pc:sldMk cId="2317507080" sldId="256"/>
            <ac:spMk id="122" creationId="{37606100-80BF-4FC0-B1FE-2563F38A4191}"/>
          </ac:spMkLst>
        </pc:spChg>
        <pc:spChg chg="mod topLvl">
          <ac:chgData name="Daniel Cole" userId="f20a75f9320a1647" providerId="LiveId" clId="{42D3E951-AF5C-4164-98AB-2347A3B6E1E6}" dt="2024-03-21T19:23:07.138" v="19129" actId="14100"/>
          <ac:spMkLst>
            <pc:docMk/>
            <pc:sldMk cId="2317507080" sldId="256"/>
            <ac:spMk id="133" creationId="{1D8E3F0C-7AD8-4C5B-92BF-B6ED4C65E6BD}"/>
          </ac:spMkLst>
        </pc:spChg>
        <pc:spChg chg="mod topLvl">
          <ac:chgData name="Daniel Cole" userId="f20a75f9320a1647" providerId="LiveId" clId="{42D3E951-AF5C-4164-98AB-2347A3B6E1E6}" dt="2024-03-21T19:23:11.015" v="19130" actId="14100"/>
          <ac:spMkLst>
            <pc:docMk/>
            <pc:sldMk cId="2317507080" sldId="256"/>
            <ac:spMk id="134" creationId="{517FB429-36AE-4C2C-A6F1-089A0E78F67D}"/>
          </ac:spMkLst>
        </pc:spChg>
        <pc:spChg chg="mod topLvl">
          <ac:chgData name="Daniel Cole" userId="f20a75f9320a1647" providerId="LiveId" clId="{42D3E951-AF5C-4164-98AB-2347A3B6E1E6}" dt="2024-03-21T19:30:00.633" v="19246" actId="20577"/>
          <ac:spMkLst>
            <pc:docMk/>
            <pc:sldMk cId="2317507080" sldId="256"/>
            <ac:spMk id="135" creationId="{C70324A7-D7B8-4826-8263-0E6DC51397D3}"/>
          </ac:spMkLst>
        </pc:spChg>
        <pc:spChg chg="mod topLvl">
          <ac:chgData name="Daniel Cole" userId="f20a75f9320a1647" providerId="LiveId" clId="{42D3E951-AF5C-4164-98AB-2347A3B6E1E6}" dt="2024-03-21T19:18:28.757" v="19092" actId="1076"/>
          <ac:spMkLst>
            <pc:docMk/>
            <pc:sldMk cId="2317507080" sldId="256"/>
            <ac:spMk id="138" creationId="{D9FDED5E-31D1-4EFE-BFDC-0AE05A45564F}"/>
          </ac:spMkLst>
        </pc:spChg>
        <pc:spChg chg="mod topLvl">
          <ac:chgData name="Daniel Cole" userId="f20a75f9320a1647" providerId="LiveId" clId="{42D3E951-AF5C-4164-98AB-2347A3B6E1E6}" dt="2024-03-21T19:18:18.182" v="19091" actId="1076"/>
          <ac:spMkLst>
            <pc:docMk/>
            <pc:sldMk cId="2317507080" sldId="256"/>
            <ac:spMk id="139" creationId="{9723F93D-C1D9-4C51-BEEE-BC304B4F4F85}"/>
          </ac:spMkLst>
        </pc:spChg>
        <pc:spChg chg="mod topLvl">
          <ac:chgData name="Daniel Cole" userId="f20a75f9320a1647" providerId="LiveId" clId="{42D3E951-AF5C-4164-98AB-2347A3B6E1E6}" dt="2024-03-21T19:30:14.639" v="19250" actId="20577"/>
          <ac:spMkLst>
            <pc:docMk/>
            <pc:sldMk cId="2317507080" sldId="256"/>
            <ac:spMk id="140" creationId="{1A306737-3467-4837-9CCE-CC386667217F}"/>
          </ac:spMkLst>
        </pc:spChg>
        <pc:spChg chg="mod">
          <ac:chgData name="Daniel Cole" userId="f20a75f9320a1647" providerId="LiveId" clId="{42D3E951-AF5C-4164-98AB-2347A3B6E1E6}" dt="2024-03-21T09:14:46.336" v="8624" actId="165"/>
          <ac:spMkLst>
            <pc:docMk/>
            <pc:sldMk cId="2317507080" sldId="256"/>
            <ac:spMk id="142" creationId="{4EE904FF-A888-46AD-BFB8-130653B662CF}"/>
          </ac:spMkLst>
        </pc:spChg>
        <pc:spChg chg="mod">
          <ac:chgData name="Daniel Cole" userId="f20a75f9320a1647" providerId="LiveId" clId="{42D3E951-AF5C-4164-98AB-2347A3B6E1E6}" dt="2024-03-21T09:16:11.141" v="8635" actId="20577"/>
          <ac:spMkLst>
            <pc:docMk/>
            <pc:sldMk cId="2317507080" sldId="256"/>
            <ac:spMk id="143" creationId="{001EC604-1AA8-4894-ABA8-F9B9D066F96E}"/>
          </ac:spMkLst>
        </pc:spChg>
        <pc:spChg chg="mod">
          <ac:chgData name="Daniel Cole" userId="f20a75f9320a1647" providerId="LiveId" clId="{42D3E951-AF5C-4164-98AB-2347A3B6E1E6}" dt="2024-03-21T09:14:46.336" v="8624" actId="165"/>
          <ac:spMkLst>
            <pc:docMk/>
            <pc:sldMk cId="2317507080" sldId="256"/>
            <ac:spMk id="144" creationId="{06307386-DC02-4529-8996-209E46D79DC7}"/>
          </ac:spMkLst>
        </pc:spChg>
        <pc:spChg chg="mod topLvl">
          <ac:chgData name="Daniel Cole" userId="f20a75f9320a1647" providerId="LiveId" clId="{42D3E951-AF5C-4164-98AB-2347A3B6E1E6}" dt="2024-03-21T19:24:20.845" v="19136" actId="14100"/>
          <ac:spMkLst>
            <pc:docMk/>
            <pc:sldMk cId="2317507080" sldId="256"/>
            <ac:spMk id="146" creationId="{A0ACB674-9B18-4809-8AF0-7D607A226BC3}"/>
          </ac:spMkLst>
        </pc:spChg>
        <pc:spChg chg="mod topLvl">
          <ac:chgData name="Daniel Cole" userId="f20a75f9320a1647" providerId="LiveId" clId="{42D3E951-AF5C-4164-98AB-2347A3B6E1E6}" dt="2024-03-21T19:24:20.845" v="19136" actId="14100"/>
          <ac:spMkLst>
            <pc:docMk/>
            <pc:sldMk cId="2317507080" sldId="256"/>
            <ac:spMk id="147" creationId="{7E7BCFC6-C2DD-4FD1-9D1D-6A21750B9DAB}"/>
          </ac:spMkLst>
        </pc:spChg>
        <pc:spChg chg="mod topLvl">
          <ac:chgData name="Daniel Cole" userId="f20a75f9320a1647" providerId="LiveId" clId="{42D3E951-AF5C-4164-98AB-2347A3B6E1E6}" dt="2024-03-21T19:30:03.229" v="19247" actId="20577"/>
          <ac:spMkLst>
            <pc:docMk/>
            <pc:sldMk cId="2317507080" sldId="256"/>
            <ac:spMk id="148" creationId="{F968FEF4-6B16-4641-8DE5-6176BBE73038}"/>
          </ac:spMkLst>
        </pc:spChg>
        <pc:spChg chg="mod topLvl">
          <ac:chgData name="Daniel Cole" userId="f20a75f9320a1647" providerId="LiveId" clId="{42D3E951-AF5C-4164-98AB-2347A3B6E1E6}" dt="2024-03-21T19:21:27.109" v="19111" actId="1076"/>
          <ac:spMkLst>
            <pc:docMk/>
            <pc:sldMk cId="2317507080" sldId="256"/>
            <ac:spMk id="150" creationId="{0504A9AC-C123-4BBB-AEB2-09062C17A495}"/>
          </ac:spMkLst>
        </pc:spChg>
        <pc:spChg chg="mod topLvl">
          <ac:chgData name="Daniel Cole" userId="f20a75f9320a1647" providerId="LiveId" clId="{42D3E951-AF5C-4164-98AB-2347A3B6E1E6}" dt="2024-03-21T19:21:27.109" v="19111" actId="1076"/>
          <ac:spMkLst>
            <pc:docMk/>
            <pc:sldMk cId="2317507080" sldId="256"/>
            <ac:spMk id="151" creationId="{933C2815-9023-4861-B0BB-DD6412A3C4F3}"/>
          </ac:spMkLst>
        </pc:spChg>
        <pc:spChg chg="mod topLvl">
          <ac:chgData name="Daniel Cole" userId="f20a75f9320a1647" providerId="LiveId" clId="{42D3E951-AF5C-4164-98AB-2347A3B6E1E6}" dt="2024-03-21T19:29:56.476" v="19244" actId="20577"/>
          <ac:spMkLst>
            <pc:docMk/>
            <pc:sldMk cId="2317507080" sldId="256"/>
            <ac:spMk id="152" creationId="{EE4936B4-AFF5-41C3-B435-0786E2361B3D}"/>
          </ac:spMkLst>
        </pc:spChg>
        <pc:spChg chg="del">
          <ac:chgData name="Daniel Cole" userId="f20a75f9320a1647" providerId="LiveId" clId="{42D3E951-AF5C-4164-98AB-2347A3B6E1E6}" dt="2024-03-18T23:01:33.723" v="2457" actId="478"/>
          <ac:spMkLst>
            <pc:docMk/>
            <pc:sldMk cId="2317507080" sldId="256"/>
            <ac:spMk id="153" creationId="{490031D1-42B9-453A-A9DF-9872FDD3A8E2}"/>
          </ac:spMkLst>
        </pc:spChg>
        <pc:spChg chg="del">
          <ac:chgData name="Daniel Cole" userId="f20a75f9320a1647" providerId="LiveId" clId="{42D3E951-AF5C-4164-98AB-2347A3B6E1E6}" dt="2024-03-18T23:01:33.723" v="2457" actId="478"/>
          <ac:spMkLst>
            <pc:docMk/>
            <pc:sldMk cId="2317507080" sldId="256"/>
            <ac:spMk id="154" creationId="{FF990599-3C42-45ED-B0C6-FD09F3D76100}"/>
          </ac:spMkLst>
        </pc:spChg>
        <pc:spChg chg="del">
          <ac:chgData name="Daniel Cole" userId="f20a75f9320a1647" providerId="LiveId" clId="{42D3E951-AF5C-4164-98AB-2347A3B6E1E6}" dt="2024-03-18T23:01:33.723" v="2457" actId="478"/>
          <ac:spMkLst>
            <pc:docMk/>
            <pc:sldMk cId="2317507080" sldId="256"/>
            <ac:spMk id="155" creationId="{7CBAD242-F9F0-484E-8149-A46ABA23E6DA}"/>
          </ac:spMkLst>
        </pc:spChg>
        <pc:spChg chg="del">
          <ac:chgData name="Daniel Cole" userId="f20a75f9320a1647" providerId="LiveId" clId="{42D3E951-AF5C-4164-98AB-2347A3B6E1E6}" dt="2024-03-18T23:01:14.020" v="2455" actId="478"/>
          <ac:spMkLst>
            <pc:docMk/>
            <pc:sldMk cId="2317507080" sldId="256"/>
            <ac:spMk id="156" creationId="{E0A9FBD6-2007-4680-B9EF-3336FECA31B5}"/>
          </ac:spMkLst>
        </pc:spChg>
        <pc:spChg chg="del">
          <ac:chgData name="Daniel Cole" userId="f20a75f9320a1647" providerId="LiveId" clId="{42D3E951-AF5C-4164-98AB-2347A3B6E1E6}" dt="2024-03-18T23:01:18.054" v="2456" actId="478"/>
          <ac:spMkLst>
            <pc:docMk/>
            <pc:sldMk cId="2317507080" sldId="256"/>
            <ac:spMk id="157" creationId="{E4A52D97-BAB4-4D77-BEF8-820CB45AE1C0}"/>
          </ac:spMkLst>
        </pc:spChg>
        <pc:spChg chg="add del">
          <ac:chgData name="Daniel Cole" userId="f20a75f9320a1647" providerId="LiveId" clId="{42D3E951-AF5C-4164-98AB-2347A3B6E1E6}" dt="2024-03-18T23:01:11.811" v="2454" actId="478"/>
          <ac:spMkLst>
            <pc:docMk/>
            <pc:sldMk cId="2317507080" sldId="256"/>
            <ac:spMk id="160" creationId="{225016FB-0238-43AB-93D2-7C6B6212E9FC}"/>
          </ac:spMkLst>
        </pc:spChg>
        <pc:grpChg chg="add del mod topLvl">
          <ac:chgData name="Daniel Cole" userId="f20a75f9320a1647" providerId="LiveId" clId="{42D3E951-AF5C-4164-98AB-2347A3B6E1E6}" dt="2024-03-21T11:56:23.257" v="11021" actId="165"/>
          <ac:grpSpMkLst>
            <pc:docMk/>
            <pc:sldMk cId="2317507080" sldId="256"/>
            <ac:grpSpMk id="3" creationId="{25F559FF-CA0A-C3E5-DF97-3B224F5553F6}"/>
          </ac:grpSpMkLst>
        </pc:grpChg>
        <pc:grpChg chg="add del mod">
          <ac:chgData name="Daniel Cole" userId="f20a75f9320a1647" providerId="LiveId" clId="{42D3E951-AF5C-4164-98AB-2347A3B6E1E6}" dt="2024-03-21T09:08:28.054" v="8418" actId="165"/>
          <ac:grpSpMkLst>
            <pc:docMk/>
            <pc:sldMk cId="2317507080" sldId="256"/>
            <ac:grpSpMk id="4" creationId="{7DE5EC1A-4520-A3BF-95AA-DC90BC774F71}"/>
          </ac:grpSpMkLst>
        </pc:grpChg>
        <pc:grpChg chg="add del mod">
          <ac:chgData name="Daniel Cole" userId="f20a75f9320a1647" providerId="LiveId" clId="{42D3E951-AF5C-4164-98AB-2347A3B6E1E6}" dt="2024-03-21T19:11:55.586" v="18896" actId="478"/>
          <ac:grpSpMkLst>
            <pc:docMk/>
            <pc:sldMk cId="2317507080" sldId="256"/>
            <ac:grpSpMk id="4" creationId="{FF6EA40B-7CC4-28F3-605A-F9D4697D753C}"/>
          </ac:grpSpMkLst>
        </pc:grpChg>
        <pc:grpChg chg="add del mod">
          <ac:chgData name="Daniel Cole" userId="f20a75f9320a1647" providerId="LiveId" clId="{42D3E951-AF5C-4164-98AB-2347A3B6E1E6}" dt="2024-03-21T09:14:46.336" v="8624" actId="165"/>
          <ac:grpSpMkLst>
            <pc:docMk/>
            <pc:sldMk cId="2317507080" sldId="256"/>
            <ac:grpSpMk id="6" creationId="{66D4E842-84AC-D992-AB54-571E3019B6EF}"/>
          </ac:grpSpMkLst>
        </pc:grpChg>
        <pc:grpChg chg="add del mod">
          <ac:chgData name="Daniel Cole" userId="f20a75f9320a1647" providerId="LiveId" clId="{42D3E951-AF5C-4164-98AB-2347A3B6E1E6}" dt="2024-03-21T09:13:07.389" v="8602" actId="165"/>
          <ac:grpSpMkLst>
            <pc:docMk/>
            <pc:sldMk cId="2317507080" sldId="256"/>
            <ac:grpSpMk id="8" creationId="{708A41E9-8A1B-5A3C-F59A-883309456AD7}"/>
          </ac:grpSpMkLst>
        </pc:grpChg>
        <pc:grpChg chg="add del mod topLvl">
          <ac:chgData name="Daniel Cole" userId="f20a75f9320a1647" providerId="LiveId" clId="{42D3E951-AF5C-4164-98AB-2347A3B6E1E6}" dt="2024-03-21T09:34:40.010" v="8685" actId="165"/>
          <ac:grpSpMkLst>
            <pc:docMk/>
            <pc:sldMk cId="2317507080" sldId="256"/>
            <ac:grpSpMk id="9" creationId="{7B5229BE-5849-AE5A-B28E-E6648B21B6E5}"/>
          </ac:grpSpMkLst>
        </pc:grpChg>
        <pc:grpChg chg="add mod topLvl">
          <ac:chgData name="Daniel Cole" userId="f20a75f9320a1647" providerId="LiveId" clId="{42D3E951-AF5C-4164-98AB-2347A3B6E1E6}" dt="2024-03-21T19:26:25.932" v="19152" actId="1076"/>
          <ac:grpSpMkLst>
            <pc:docMk/>
            <pc:sldMk cId="2317507080" sldId="256"/>
            <ac:grpSpMk id="12" creationId="{6AA68AD0-549A-AA27-EA88-21A06E636A82}"/>
          </ac:grpSpMkLst>
        </pc:grpChg>
        <pc:grpChg chg="mod">
          <ac:chgData name="Daniel Cole" userId="f20a75f9320a1647" providerId="LiveId" clId="{42D3E951-AF5C-4164-98AB-2347A3B6E1E6}" dt="2024-03-21T09:13:07.389" v="8602" actId="165"/>
          <ac:grpSpMkLst>
            <pc:docMk/>
            <pc:sldMk cId="2317507080" sldId="256"/>
            <ac:grpSpMk id="14" creationId="{8003C3CF-60DF-0C9A-DE21-0DEED1766E56}"/>
          </ac:grpSpMkLst>
        </pc:grpChg>
        <pc:grpChg chg="mod">
          <ac:chgData name="Daniel Cole" userId="f20a75f9320a1647" providerId="LiveId" clId="{42D3E951-AF5C-4164-98AB-2347A3B6E1E6}" dt="2024-03-21T09:13:07.389" v="8602" actId="165"/>
          <ac:grpSpMkLst>
            <pc:docMk/>
            <pc:sldMk cId="2317507080" sldId="256"/>
            <ac:grpSpMk id="15" creationId="{188F7772-F1C5-61E7-811B-204286D2FDFA}"/>
          </ac:grpSpMkLst>
        </pc:grpChg>
        <pc:grpChg chg="add del mod">
          <ac:chgData name="Daniel Cole" userId="f20a75f9320a1647" providerId="LiveId" clId="{42D3E951-AF5C-4164-98AB-2347A3B6E1E6}" dt="2024-03-21T09:34:32.074" v="8684" actId="165"/>
          <ac:grpSpMkLst>
            <pc:docMk/>
            <pc:sldMk cId="2317507080" sldId="256"/>
            <ac:grpSpMk id="20" creationId="{EE98936F-9482-0F81-38C8-6ED72E734197}"/>
          </ac:grpSpMkLst>
        </pc:grpChg>
        <pc:grpChg chg="add del mod topLvl">
          <ac:chgData name="Daniel Cole" userId="f20a75f9320a1647" providerId="LiveId" clId="{42D3E951-AF5C-4164-98AB-2347A3B6E1E6}" dt="2024-03-21T11:56:08.413" v="11020" actId="165"/>
          <ac:grpSpMkLst>
            <pc:docMk/>
            <pc:sldMk cId="2317507080" sldId="256"/>
            <ac:grpSpMk id="21" creationId="{711E2B3E-BF7B-69F6-29B9-1A617E14C9C2}"/>
          </ac:grpSpMkLst>
        </pc:grpChg>
        <pc:grpChg chg="add del mod">
          <ac:chgData name="Daniel Cole" userId="f20a75f9320a1647" providerId="LiveId" clId="{42D3E951-AF5C-4164-98AB-2347A3B6E1E6}" dt="2024-03-18T23:47:54.932" v="3484" actId="165"/>
          <ac:grpSpMkLst>
            <pc:docMk/>
            <pc:sldMk cId="2317507080" sldId="256"/>
            <ac:grpSpMk id="26" creationId="{A2D5FE5A-9CEB-BC5A-B005-CB2D197519EB}"/>
          </ac:grpSpMkLst>
        </pc:grpChg>
        <pc:grpChg chg="add del mod">
          <ac:chgData name="Daniel Cole" userId="f20a75f9320a1647" providerId="LiveId" clId="{42D3E951-AF5C-4164-98AB-2347A3B6E1E6}" dt="2024-03-21T09:44:45.158" v="8924" actId="165"/>
          <ac:grpSpMkLst>
            <pc:docMk/>
            <pc:sldMk cId="2317507080" sldId="256"/>
            <ac:grpSpMk id="26" creationId="{AD49594F-79A2-2C52-0566-8C0E855C008E}"/>
          </ac:grpSpMkLst>
        </pc:grpChg>
        <pc:grpChg chg="mod topLvl">
          <ac:chgData name="Daniel Cole" userId="f20a75f9320a1647" providerId="LiveId" clId="{42D3E951-AF5C-4164-98AB-2347A3B6E1E6}" dt="2024-03-21T19:31:02.360" v="19265" actId="1038"/>
          <ac:grpSpMkLst>
            <pc:docMk/>
            <pc:sldMk cId="2317507080" sldId="256"/>
            <ac:grpSpMk id="28" creationId="{6FC0DD6D-A1FD-8B8E-A1F3-3B14A50B440B}"/>
          </ac:grpSpMkLst>
        </pc:grpChg>
        <pc:grpChg chg="mod topLvl">
          <ac:chgData name="Daniel Cole" userId="f20a75f9320a1647" providerId="LiveId" clId="{42D3E951-AF5C-4164-98AB-2347A3B6E1E6}" dt="2024-03-21T19:31:02.360" v="19265" actId="1038"/>
          <ac:grpSpMkLst>
            <pc:docMk/>
            <pc:sldMk cId="2317507080" sldId="256"/>
            <ac:grpSpMk id="29" creationId="{D9B59B21-DC7E-F858-4BFC-33E44599401E}"/>
          </ac:grpSpMkLst>
        </pc:grpChg>
        <pc:grpChg chg="add del mod topLvl">
          <ac:chgData name="Daniel Cole" userId="f20a75f9320a1647" providerId="LiveId" clId="{42D3E951-AF5C-4164-98AB-2347A3B6E1E6}" dt="2024-03-21T11:55:43.239" v="11019" actId="165"/>
          <ac:grpSpMkLst>
            <pc:docMk/>
            <pc:sldMk cId="2317507080" sldId="256"/>
            <ac:grpSpMk id="34" creationId="{35173119-0325-65C0-E558-2A08F8E8D311}"/>
          </ac:grpSpMkLst>
        </pc:grpChg>
        <pc:grpChg chg="add del mod">
          <ac:chgData name="Daniel Cole" userId="f20a75f9320a1647" providerId="LiveId" clId="{42D3E951-AF5C-4164-98AB-2347A3B6E1E6}" dt="2024-03-21T09:45:37.859" v="8990" actId="165"/>
          <ac:grpSpMkLst>
            <pc:docMk/>
            <pc:sldMk cId="2317507080" sldId="256"/>
            <ac:grpSpMk id="44" creationId="{3765E741-92A7-71BF-EBC6-CDD76EF45E11}"/>
          </ac:grpSpMkLst>
        </pc:grpChg>
        <pc:grpChg chg="add del mod topLvl">
          <ac:chgData name="Daniel Cole" userId="f20a75f9320a1647" providerId="LiveId" clId="{42D3E951-AF5C-4164-98AB-2347A3B6E1E6}" dt="2024-03-21T09:53:23.243" v="9264" actId="165"/>
          <ac:grpSpMkLst>
            <pc:docMk/>
            <pc:sldMk cId="2317507080" sldId="256"/>
            <ac:grpSpMk id="47" creationId="{93D8017C-D1DD-085F-F3EC-67285EF31655}"/>
          </ac:grpSpMkLst>
        </pc:grpChg>
        <pc:grpChg chg="add del mod">
          <ac:chgData name="Daniel Cole" userId="f20a75f9320a1647" providerId="LiveId" clId="{42D3E951-AF5C-4164-98AB-2347A3B6E1E6}" dt="2024-03-21T09:53:00.091" v="9257" actId="165"/>
          <ac:grpSpMkLst>
            <pc:docMk/>
            <pc:sldMk cId="2317507080" sldId="256"/>
            <ac:grpSpMk id="48" creationId="{6C8BA250-5609-3926-CC3E-3C829F98E593}"/>
          </ac:grpSpMkLst>
        </pc:grpChg>
        <pc:grpChg chg="add del mod">
          <ac:chgData name="Daniel Cole" userId="f20a75f9320a1647" providerId="LiveId" clId="{42D3E951-AF5C-4164-98AB-2347A3B6E1E6}" dt="2024-03-21T11:56:08.413" v="11020" actId="165"/>
          <ac:grpSpMkLst>
            <pc:docMk/>
            <pc:sldMk cId="2317507080" sldId="256"/>
            <ac:grpSpMk id="49" creationId="{DB73E122-9225-6F54-73F3-469EEBC7553C}"/>
          </ac:grpSpMkLst>
        </pc:grpChg>
        <pc:grpChg chg="add mod">
          <ac:chgData name="Daniel Cole" userId="f20a75f9320a1647" providerId="LiveId" clId="{42D3E951-AF5C-4164-98AB-2347A3B6E1E6}" dt="2024-03-21T19:23:53.505" v="19131" actId="1076"/>
          <ac:grpSpMkLst>
            <pc:docMk/>
            <pc:sldMk cId="2317507080" sldId="256"/>
            <ac:grpSpMk id="50" creationId="{F8CF6AF7-4150-0B86-38A1-43024C4CAA86}"/>
          </ac:grpSpMkLst>
        </pc:grpChg>
        <pc:grpChg chg="add del mod">
          <ac:chgData name="Daniel Cole" userId="f20a75f9320a1647" providerId="LiveId" clId="{42D3E951-AF5C-4164-98AB-2347A3B6E1E6}" dt="2024-03-21T09:53:20.406" v="9263" actId="165"/>
          <ac:grpSpMkLst>
            <pc:docMk/>
            <pc:sldMk cId="2317507080" sldId="256"/>
            <ac:grpSpMk id="51" creationId="{294B2B2A-CF51-C3B5-6C92-E2A3DCA7BE2D}"/>
          </ac:grpSpMkLst>
        </pc:grpChg>
        <pc:grpChg chg="add del mod">
          <ac:chgData name="Daniel Cole" userId="f20a75f9320a1647" providerId="LiveId" clId="{42D3E951-AF5C-4164-98AB-2347A3B6E1E6}" dt="2024-03-21T17:34:38.164" v="17270" actId="478"/>
          <ac:grpSpMkLst>
            <pc:docMk/>
            <pc:sldMk cId="2317507080" sldId="256"/>
            <ac:grpSpMk id="56" creationId="{E57265DE-C09B-F73F-4E8F-CA170061C97E}"/>
          </ac:grpSpMkLst>
        </pc:grpChg>
        <pc:grpChg chg="add mod">
          <ac:chgData name="Daniel Cole" userId="f20a75f9320a1647" providerId="LiveId" clId="{42D3E951-AF5C-4164-98AB-2347A3B6E1E6}" dt="2024-03-21T17:35:50.373" v="17293" actId="14100"/>
          <ac:grpSpMkLst>
            <pc:docMk/>
            <pc:sldMk cId="2317507080" sldId="256"/>
            <ac:grpSpMk id="61" creationId="{8CBE2DEE-1826-A2F2-000A-F3A887811E53}"/>
          </ac:grpSpMkLst>
        </pc:grpChg>
        <pc:grpChg chg="add del mod">
          <ac:chgData name="Daniel Cole" userId="f20a75f9320a1647" providerId="LiveId" clId="{42D3E951-AF5C-4164-98AB-2347A3B6E1E6}" dt="2024-03-21T11:56:23.257" v="11021" actId="165"/>
          <ac:grpSpMkLst>
            <pc:docMk/>
            <pc:sldMk cId="2317507080" sldId="256"/>
            <ac:grpSpMk id="85" creationId="{5E5E3E98-176C-490D-9128-7471CBA267BA}"/>
          </ac:grpSpMkLst>
        </pc:grpChg>
        <pc:grpChg chg="mod">
          <ac:chgData name="Daniel Cole" userId="f20a75f9320a1647" providerId="LiveId" clId="{42D3E951-AF5C-4164-98AB-2347A3B6E1E6}" dt="2024-03-21T11:56:23.257" v="11021" actId="165"/>
          <ac:grpSpMkLst>
            <pc:docMk/>
            <pc:sldMk cId="2317507080" sldId="256"/>
            <ac:grpSpMk id="88" creationId="{602F9719-7418-44B7-9701-5D27CAF8BE72}"/>
          </ac:grpSpMkLst>
        </pc:grpChg>
        <pc:grpChg chg="mod topLvl">
          <ac:chgData name="Daniel Cole" userId="f20a75f9320a1647" providerId="LiveId" clId="{42D3E951-AF5C-4164-98AB-2347A3B6E1E6}" dt="2024-03-21T19:29:16.683" v="19240" actId="1035"/>
          <ac:grpSpMkLst>
            <pc:docMk/>
            <pc:sldMk cId="2317507080" sldId="256"/>
            <ac:grpSpMk id="90" creationId="{CFBAA84B-501B-4074-96CB-13531E6499C7}"/>
          </ac:grpSpMkLst>
        </pc:grpChg>
        <pc:grpChg chg="mod topLvl">
          <ac:chgData name="Daniel Cole" userId="f20a75f9320a1647" providerId="LiveId" clId="{42D3E951-AF5C-4164-98AB-2347A3B6E1E6}" dt="2024-03-21T17:35:50.373" v="17293" actId="14100"/>
          <ac:grpSpMkLst>
            <pc:docMk/>
            <pc:sldMk cId="2317507080" sldId="256"/>
            <ac:grpSpMk id="91" creationId="{73B42CD4-A264-4326-9913-9747354CB225}"/>
          </ac:grpSpMkLst>
        </pc:grpChg>
        <pc:grpChg chg="mod">
          <ac:chgData name="Daniel Cole" userId="f20a75f9320a1647" providerId="LiveId" clId="{42D3E951-AF5C-4164-98AB-2347A3B6E1E6}" dt="2024-03-21T09:08:28.054" v="8418" actId="165"/>
          <ac:grpSpMkLst>
            <pc:docMk/>
            <pc:sldMk cId="2317507080" sldId="256"/>
            <ac:grpSpMk id="93" creationId="{B5BB4C1C-FA7D-4166-BE3D-CBF3424810C9}"/>
          </ac:grpSpMkLst>
        </pc:grpChg>
        <pc:grpChg chg="mod">
          <ac:chgData name="Daniel Cole" userId="f20a75f9320a1647" providerId="LiveId" clId="{42D3E951-AF5C-4164-98AB-2347A3B6E1E6}" dt="2024-03-21T09:08:28.054" v="8418" actId="165"/>
          <ac:grpSpMkLst>
            <pc:docMk/>
            <pc:sldMk cId="2317507080" sldId="256"/>
            <ac:grpSpMk id="94" creationId="{3072B053-EF43-4AF4-AE89-BA06B440375C}"/>
          </ac:grpSpMkLst>
        </pc:grpChg>
        <pc:grpChg chg="mod topLvl">
          <ac:chgData name="Daniel Cole" userId="f20a75f9320a1647" providerId="LiveId" clId="{42D3E951-AF5C-4164-98AB-2347A3B6E1E6}" dt="2024-03-21T19:15:27.169" v="19071" actId="1076"/>
          <ac:grpSpMkLst>
            <pc:docMk/>
            <pc:sldMk cId="2317507080" sldId="256"/>
            <ac:grpSpMk id="99" creationId="{EB339D6F-450E-4FEA-8EDD-5594006F8668}"/>
          </ac:grpSpMkLst>
        </pc:grpChg>
        <pc:grpChg chg="mod">
          <ac:chgData name="Daniel Cole" userId="f20a75f9320a1647" providerId="LiveId" clId="{42D3E951-AF5C-4164-98AB-2347A3B6E1E6}" dt="2024-03-21T09:14:46.336" v="8624" actId="165"/>
          <ac:grpSpMkLst>
            <pc:docMk/>
            <pc:sldMk cId="2317507080" sldId="256"/>
            <ac:grpSpMk id="101" creationId="{BA2185B4-4666-4802-A423-D885B7117775}"/>
          </ac:grpSpMkLst>
        </pc:grpChg>
        <pc:grpChg chg="mod">
          <ac:chgData name="Daniel Cole" userId="f20a75f9320a1647" providerId="LiveId" clId="{42D3E951-AF5C-4164-98AB-2347A3B6E1E6}" dt="2024-03-21T09:14:46.336" v="8624" actId="165"/>
          <ac:grpSpMkLst>
            <pc:docMk/>
            <pc:sldMk cId="2317507080" sldId="256"/>
            <ac:grpSpMk id="102" creationId="{E229C826-CA29-4BF0-9621-9CD0308CF590}"/>
          </ac:grpSpMkLst>
        </pc:grpChg>
        <pc:grpChg chg="mod topLvl">
          <ac:chgData name="Daniel Cole" userId="f20a75f9320a1647" providerId="LiveId" clId="{42D3E951-AF5C-4164-98AB-2347A3B6E1E6}" dt="2024-03-21T09:49:59.475" v="9102" actId="164"/>
          <ac:grpSpMkLst>
            <pc:docMk/>
            <pc:sldMk cId="2317507080" sldId="256"/>
            <ac:grpSpMk id="107" creationId="{6762C0CB-2279-42B0-8AC7-E96D13CEFEBA}"/>
          </ac:grpSpMkLst>
        </pc:grpChg>
        <pc:grpChg chg="mod">
          <ac:chgData name="Daniel Cole" userId="f20a75f9320a1647" providerId="LiveId" clId="{42D3E951-AF5C-4164-98AB-2347A3B6E1E6}" dt="2024-03-21T09:44:45.158" v="8924" actId="165"/>
          <ac:grpSpMkLst>
            <pc:docMk/>
            <pc:sldMk cId="2317507080" sldId="256"/>
            <ac:grpSpMk id="109" creationId="{B6CFF2C1-0227-4C14-B2DF-5285FBB8989C}"/>
          </ac:grpSpMkLst>
        </pc:grpChg>
        <pc:grpChg chg="mod">
          <ac:chgData name="Daniel Cole" userId="f20a75f9320a1647" providerId="LiveId" clId="{42D3E951-AF5C-4164-98AB-2347A3B6E1E6}" dt="2024-03-21T09:44:45.158" v="8924" actId="165"/>
          <ac:grpSpMkLst>
            <pc:docMk/>
            <pc:sldMk cId="2317507080" sldId="256"/>
            <ac:grpSpMk id="110" creationId="{F41359E0-2610-474B-A73C-2C7BCAD749BB}"/>
          </ac:grpSpMkLst>
        </pc:grpChg>
        <pc:grpChg chg="del mod">
          <ac:chgData name="Daniel Cole" userId="f20a75f9320a1647" providerId="LiveId" clId="{42D3E951-AF5C-4164-98AB-2347A3B6E1E6}" dt="2024-03-18T23:56:49.276" v="3608" actId="165"/>
          <ac:grpSpMkLst>
            <pc:docMk/>
            <pc:sldMk cId="2317507080" sldId="256"/>
            <ac:grpSpMk id="115" creationId="{62E95B0D-D32E-4815-BCBF-F487D42AD653}"/>
          </ac:grpSpMkLst>
        </pc:grpChg>
        <pc:grpChg chg="mod topLvl">
          <ac:chgData name="Daniel Cole" userId="f20a75f9320a1647" providerId="LiveId" clId="{42D3E951-AF5C-4164-98AB-2347A3B6E1E6}" dt="2024-03-21T19:28:57.368" v="19231" actId="1038"/>
          <ac:grpSpMkLst>
            <pc:docMk/>
            <pc:sldMk cId="2317507080" sldId="256"/>
            <ac:grpSpMk id="117" creationId="{EE7A4E2A-E765-47B4-AC14-D2D902CFE220}"/>
          </ac:grpSpMkLst>
        </pc:grpChg>
        <pc:grpChg chg="mod topLvl">
          <ac:chgData name="Daniel Cole" userId="f20a75f9320a1647" providerId="LiveId" clId="{42D3E951-AF5C-4164-98AB-2347A3B6E1E6}" dt="2024-03-21T19:28:57.368" v="19231" actId="1038"/>
          <ac:grpSpMkLst>
            <pc:docMk/>
            <pc:sldMk cId="2317507080" sldId="256"/>
            <ac:grpSpMk id="118" creationId="{FE39FA55-E424-47AC-BAFE-1A69F271CBBE}"/>
          </ac:grpSpMkLst>
        </pc:grpChg>
        <pc:grpChg chg="del mod topLvl">
          <ac:chgData name="Daniel Cole" userId="f20a75f9320a1647" providerId="LiveId" clId="{42D3E951-AF5C-4164-98AB-2347A3B6E1E6}" dt="2024-03-21T11:56:30.607" v="11022" actId="165"/>
          <ac:grpSpMkLst>
            <pc:docMk/>
            <pc:sldMk cId="2317507080" sldId="256"/>
            <ac:grpSpMk id="136" creationId="{D6957F8E-D003-42FA-B522-9D9E31C9A963}"/>
          </ac:grpSpMkLst>
        </pc:grpChg>
        <pc:grpChg chg="del mod topLvl">
          <ac:chgData name="Daniel Cole" userId="f20a75f9320a1647" providerId="LiveId" clId="{42D3E951-AF5C-4164-98AB-2347A3B6E1E6}" dt="2024-03-21T10:23:44.742" v="9531" actId="165"/>
          <ac:grpSpMkLst>
            <pc:docMk/>
            <pc:sldMk cId="2317507080" sldId="256"/>
            <ac:grpSpMk id="137" creationId="{7C91DE82-5AF1-4814-81ED-EA59BC39519B}"/>
          </ac:grpSpMkLst>
        </pc:grpChg>
        <pc:grpChg chg="mod topLvl">
          <ac:chgData name="Daniel Cole" userId="f20a75f9320a1647" providerId="LiveId" clId="{42D3E951-AF5C-4164-98AB-2347A3B6E1E6}" dt="2024-03-21T19:18:47.728" v="19093" actId="1076"/>
          <ac:grpSpMkLst>
            <pc:docMk/>
            <pc:sldMk cId="2317507080" sldId="256"/>
            <ac:grpSpMk id="141" creationId="{96278AA6-6531-455F-898D-9F01BE161BF4}"/>
          </ac:grpSpMkLst>
        </pc:grpChg>
        <pc:grpChg chg="del mod topLvl">
          <ac:chgData name="Daniel Cole" userId="f20a75f9320a1647" providerId="LiveId" clId="{42D3E951-AF5C-4164-98AB-2347A3B6E1E6}" dt="2024-03-21T11:56:08.413" v="11020" actId="165"/>
          <ac:grpSpMkLst>
            <pc:docMk/>
            <pc:sldMk cId="2317507080" sldId="256"/>
            <ac:grpSpMk id="145" creationId="{560F3472-34FE-4B55-8335-2E90C9A3449C}"/>
          </ac:grpSpMkLst>
        </pc:grpChg>
        <pc:grpChg chg="del mod topLvl">
          <ac:chgData name="Daniel Cole" userId="f20a75f9320a1647" providerId="LiveId" clId="{42D3E951-AF5C-4164-98AB-2347A3B6E1E6}" dt="2024-03-21T11:56:08.413" v="11020" actId="165"/>
          <ac:grpSpMkLst>
            <pc:docMk/>
            <pc:sldMk cId="2317507080" sldId="256"/>
            <ac:grpSpMk id="149" creationId="{766E8E3F-595A-4011-AFEF-564AA44B457A}"/>
          </ac:grpSpMkLst>
        </pc:grpChg>
        <pc:picChg chg="add del mod">
          <ac:chgData name="Daniel Cole" userId="f20a75f9320a1647" providerId="LiveId" clId="{42D3E951-AF5C-4164-98AB-2347A3B6E1E6}" dt="2024-03-18T23:16:48.953" v="2684" actId="478"/>
          <ac:picMkLst>
            <pc:docMk/>
            <pc:sldMk cId="2317507080" sldId="256"/>
            <ac:picMk id="4" creationId="{B7BFEB0A-2599-4569-1082-B53373CE08F4}"/>
          </ac:picMkLst>
        </pc:picChg>
        <pc:picChg chg="add mod topLvl">
          <ac:chgData name="Daniel Cole" userId="f20a75f9320a1647" providerId="LiveId" clId="{42D3E951-AF5C-4164-98AB-2347A3B6E1E6}" dt="2024-03-23T20:34:51.624" v="19438" actId="14100"/>
          <ac:picMkLst>
            <pc:docMk/>
            <pc:sldMk cId="2317507080" sldId="256"/>
            <ac:picMk id="5" creationId="{C93EF631-2391-88CC-4D48-1A7E9D9593A3}"/>
          </ac:picMkLst>
        </pc:picChg>
        <pc:picChg chg="add del mod">
          <ac:chgData name="Daniel Cole" userId="f20a75f9320a1647" providerId="LiveId" clId="{42D3E951-AF5C-4164-98AB-2347A3B6E1E6}" dt="2024-03-18T23:18:29.136" v="2700" actId="478"/>
          <ac:picMkLst>
            <pc:docMk/>
            <pc:sldMk cId="2317507080" sldId="256"/>
            <ac:picMk id="6" creationId="{F35284EF-EB4F-50DD-2F44-236A05F1AD86}"/>
          </ac:picMkLst>
        </pc:picChg>
        <pc:picChg chg="add mod ord">
          <ac:chgData name="Daniel Cole" userId="f20a75f9320a1647" providerId="LiveId" clId="{42D3E951-AF5C-4164-98AB-2347A3B6E1E6}" dt="2024-03-21T19:15:31.472" v="19072" actId="1076"/>
          <ac:picMkLst>
            <pc:docMk/>
            <pc:sldMk cId="2317507080" sldId="256"/>
            <ac:picMk id="7" creationId="{7D5A134C-67E9-AD4F-8B90-70B5F17524CD}"/>
          </ac:picMkLst>
        </pc:picChg>
        <pc:picChg chg="add del mod">
          <ac:chgData name="Daniel Cole" userId="f20a75f9320a1647" providerId="LiveId" clId="{42D3E951-AF5C-4164-98AB-2347A3B6E1E6}" dt="2024-03-18T23:27:03.055" v="2964" actId="478"/>
          <ac:picMkLst>
            <pc:docMk/>
            <pc:sldMk cId="2317507080" sldId="256"/>
            <ac:picMk id="20" creationId="{6C78AC99-DB3B-DAB7-C4E5-63AD026916DC}"/>
          </ac:picMkLst>
        </pc:picChg>
        <pc:picChg chg="add mod topLvl">
          <ac:chgData name="Daniel Cole" userId="f20a75f9320a1647" providerId="LiveId" clId="{42D3E951-AF5C-4164-98AB-2347A3B6E1E6}" dt="2024-03-21T19:26:42.135" v="19154" actId="1076"/>
          <ac:picMkLst>
            <pc:docMk/>
            <pc:sldMk cId="2317507080" sldId="256"/>
            <ac:picMk id="25" creationId="{612D01C2-878A-C3BD-CCF4-BB6C83C0F063}"/>
          </ac:picMkLst>
        </pc:picChg>
        <pc:picChg chg="add mod topLvl">
          <ac:chgData name="Daniel Cole" userId="f20a75f9320a1647" providerId="LiveId" clId="{42D3E951-AF5C-4164-98AB-2347A3B6E1E6}" dt="2024-03-21T09:49:59.475" v="9102" actId="164"/>
          <ac:picMkLst>
            <pc:docMk/>
            <pc:sldMk cId="2317507080" sldId="256"/>
            <ac:picMk id="38" creationId="{8AA689F0-78D9-1149-39A8-C78C443C3C3A}"/>
          </ac:picMkLst>
        </pc:picChg>
        <pc:picChg chg="add del mod">
          <ac:chgData name="Daniel Cole" userId="f20a75f9320a1647" providerId="LiveId" clId="{42D3E951-AF5C-4164-98AB-2347A3B6E1E6}" dt="2024-03-18T23:46:58.307" v="3449" actId="478"/>
          <ac:picMkLst>
            <pc:docMk/>
            <pc:sldMk cId="2317507080" sldId="256"/>
            <ac:picMk id="39" creationId="{199056FF-B1D8-8A57-3FA6-447CD5ACAC8E}"/>
          </ac:picMkLst>
        </pc:picChg>
        <pc:picChg chg="add mod topLvl">
          <ac:chgData name="Daniel Cole" userId="f20a75f9320a1647" providerId="LiveId" clId="{42D3E951-AF5C-4164-98AB-2347A3B6E1E6}" dt="2024-03-21T19:31:02.360" v="19265" actId="1038"/>
          <ac:picMkLst>
            <pc:docMk/>
            <pc:sldMk cId="2317507080" sldId="256"/>
            <ac:picMk id="40" creationId="{D68EF221-5399-CBA7-9979-B6AE057C9CE8}"/>
          </ac:picMkLst>
        </pc:picChg>
        <pc:picChg chg="add mod topLvl">
          <ac:chgData name="Daniel Cole" userId="f20a75f9320a1647" providerId="LiveId" clId="{42D3E951-AF5C-4164-98AB-2347A3B6E1E6}" dt="2024-03-21T19:29:38.853" v="19241" actId="1076"/>
          <ac:picMkLst>
            <pc:docMk/>
            <pc:sldMk cId="2317507080" sldId="256"/>
            <ac:picMk id="41" creationId="{0836B7F4-19BB-1D2A-9E15-632C726B1DF3}"/>
          </ac:picMkLst>
        </pc:picChg>
        <pc:picChg chg="add del mod modCrop">
          <ac:chgData name="Daniel Cole" userId="f20a75f9320a1647" providerId="LiveId" clId="{42D3E951-AF5C-4164-98AB-2347A3B6E1E6}" dt="2024-03-21T09:39:42.292" v="8776" actId="478"/>
          <ac:picMkLst>
            <pc:docMk/>
            <pc:sldMk cId="2317507080" sldId="256"/>
            <ac:picMk id="42" creationId="{197F9535-2088-D79D-FFAB-78EF0450D7BC}"/>
          </ac:picMkLst>
        </pc:picChg>
        <pc:picChg chg="add del mod">
          <ac:chgData name="Daniel Cole" userId="f20a75f9320a1647" providerId="LiveId" clId="{42D3E951-AF5C-4164-98AB-2347A3B6E1E6}" dt="2024-03-19T00:08:10.640" v="3806" actId="478"/>
          <ac:picMkLst>
            <pc:docMk/>
            <pc:sldMk cId="2317507080" sldId="256"/>
            <ac:picMk id="42" creationId="{9C47DD8B-E063-6039-A1CA-C9A92102E1BB}"/>
          </ac:picMkLst>
        </pc:picChg>
        <pc:picChg chg="add mod topLvl">
          <ac:chgData name="Daniel Cole" userId="f20a75f9320a1647" providerId="LiveId" clId="{42D3E951-AF5C-4164-98AB-2347A3B6E1E6}" dt="2024-03-21T19:22:00.703" v="19119" actId="1076"/>
          <ac:picMkLst>
            <pc:docMk/>
            <pc:sldMk cId="2317507080" sldId="256"/>
            <ac:picMk id="43" creationId="{42E2CCE1-CAE4-1FFE-6EFF-EE6AAEBD74D2}"/>
          </ac:picMkLst>
        </pc:picChg>
        <pc:picChg chg="del">
          <ac:chgData name="Daniel Cole" userId="f20a75f9320a1647" providerId="LiveId" clId="{42D3E951-AF5C-4164-98AB-2347A3B6E1E6}" dt="2024-03-18T23:31:43.582" v="3154" actId="478"/>
          <ac:picMkLst>
            <pc:docMk/>
            <pc:sldMk cId="2317507080" sldId="256"/>
            <ac:picMk id="124" creationId="{1CEA2ECA-0DC9-4F5F-9802-8BF96997057B}"/>
          </ac:picMkLst>
        </pc:picChg>
        <pc:picChg chg="del mod">
          <ac:chgData name="Daniel Cole" userId="f20a75f9320a1647" providerId="LiveId" clId="{42D3E951-AF5C-4164-98AB-2347A3B6E1E6}" dt="2024-03-18T23:32:31.203" v="3229" actId="478"/>
          <ac:picMkLst>
            <pc:docMk/>
            <pc:sldMk cId="2317507080" sldId="256"/>
            <ac:picMk id="126" creationId="{38EF010A-34A2-4C9A-9472-05FD0B0E4FE4}"/>
          </ac:picMkLst>
        </pc:picChg>
        <pc:picChg chg="del">
          <ac:chgData name="Daniel Cole" userId="f20a75f9320a1647" providerId="LiveId" clId="{42D3E951-AF5C-4164-98AB-2347A3B6E1E6}" dt="2024-03-18T23:18:03.982" v="2693" actId="478"/>
          <ac:picMkLst>
            <pc:docMk/>
            <pc:sldMk cId="2317507080" sldId="256"/>
            <ac:picMk id="128" creationId="{C23FC130-D17D-43CC-AB22-3D14F3A84A58}"/>
          </ac:picMkLst>
        </pc:picChg>
        <pc:picChg chg="del">
          <ac:chgData name="Daniel Cole" userId="f20a75f9320a1647" providerId="LiveId" clId="{42D3E951-AF5C-4164-98AB-2347A3B6E1E6}" dt="2024-03-18T23:14:32.863" v="2632" actId="478"/>
          <ac:picMkLst>
            <pc:docMk/>
            <pc:sldMk cId="2317507080" sldId="256"/>
            <ac:picMk id="130" creationId="{1F5ECF37-030E-4ACF-B257-32C4AA12BF75}"/>
          </ac:picMkLst>
        </pc:picChg>
        <pc:picChg chg="del">
          <ac:chgData name="Daniel Cole" userId="f20a75f9320a1647" providerId="LiveId" clId="{42D3E951-AF5C-4164-98AB-2347A3B6E1E6}" dt="2024-03-18T23:12:05.755" v="2606" actId="478"/>
          <ac:picMkLst>
            <pc:docMk/>
            <pc:sldMk cId="2317507080" sldId="256"/>
            <ac:picMk id="132" creationId="{08B92661-8BA2-4662-9627-4FD3E577A56C}"/>
          </ac:picMkLst>
        </pc:picChg>
        <pc:picChg chg="add del mod">
          <ac:chgData name="Daniel Cole" userId="f20a75f9320a1647" providerId="LiveId" clId="{42D3E951-AF5C-4164-98AB-2347A3B6E1E6}" dt="2024-03-21T09:38:22.528" v="8757" actId="478"/>
          <ac:picMkLst>
            <pc:docMk/>
            <pc:sldMk cId="2317507080" sldId="256"/>
            <ac:picMk id="1028" creationId="{6B001147-CF85-5E82-A9E6-C9F47C38718C}"/>
          </ac:picMkLst>
        </pc:picChg>
        <pc:cxnChg chg="mod">
          <ac:chgData name="Daniel Cole" userId="f20a75f9320a1647" providerId="LiveId" clId="{42D3E951-AF5C-4164-98AB-2347A3B6E1E6}" dt="2024-03-21T19:12:06.720" v="18913" actId="1036"/>
          <ac:cxnSpMkLst>
            <pc:docMk/>
            <pc:sldMk cId="2317507080" sldId="256"/>
            <ac:cxnSpMk id="6" creationId="{09E4482D-2FF0-E91A-7DAD-B6C18F1DC1E0}"/>
          </ac:cxnSpMkLst>
        </pc:cxnChg>
        <pc:cxnChg chg="add del mod">
          <ac:chgData name="Daniel Cole" userId="f20a75f9320a1647" providerId="LiveId" clId="{42D3E951-AF5C-4164-98AB-2347A3B6E1E6}" dt="2024-03-19T00:19:00.840" v="4174" actId="478"/>
          <ac:cxnSpMkLst>
            <pc:docMk/>
            <pc:sldMk cId="2317507080" sldId="256"/>
            <ac:cxnSpMk id="44" creationId="{D5D67FAC-2BFF-5E81-1A59-E22C2666EED3}"/>
          </ac:cxnSpMkLst>
        </pc:cxnChg>
      </pc:sldChg>
      <pc:sldChg chg="modSp mod">
        <pc:chgData name="Daniel Cole" userId="f20a75f9320a1647" providerId="LiveId" clId="{42D3E951-AF5C-4164-98AB-2347A3B6E1E6}" dt="2024-03-19T01:21:22.130" v="5114" actId="207"/>
        <pc:sldMkLst>
          <pc:docMk/>
          <pc:sldMk cId="0" sldId="257"/>
        </pc:sldMkLst>
        <pc:spChg chg="mod">
          <ac:chgData name="Daniel Cole" userId="f20a75f9320a1647" providerId="LiveId" clId="{42D3E951-AF5C-4164-98AB-2347A3B6E1E6}" dt="2024-03-19T01:21:22.130" v="5114" actId="207"/>
          <ac:spMkLst>
            <pc:docMk/>
            <pc:sldMk cId="0" sldId="257"/>
            <ac:spMk id="7" creationId="{1FCC2521-832B-A961-59C9-6F939DB303E5}"/>
          </ac:spMkLst>
        </pc:spChg>
      </pc:sldChg>
      <pc:sldChg chg="del">
        <pc:chgData name="Daniel Cole" userId="f20a75f9320a1647" providerId="LiveId" clId="{42D3E951-AF5C-4164-98AB-2347A3B6E1E6}" dt="2024-03-21T13:11:43.861" v="12794" actId="47"/>
        <pc:sldMkLst>
          <pc:docMk/>
          <pc:sldMk cId="2206922809" sldId="258"/>
        </pc:sldMkLst>
      </pc:sldChg>
      <pc:sldChg chg="del">
        <pc:chgData name="Daniel Cole" userId="f20a75f9320a1647" providerId="LiveId" clId="{42D3E951-AF5C-4164-98AB-2347A3B6E1E6}" dt="2024-03-21T13:11:43.861" v="12794" actId="47"/>
        <pc:sldMkLst>
          <pc:docMk/>
          <pc:sldMk cId="3216416225" sldId="259"/>
        </pc:sldMkLst>
      </pc:sldChg>
      <pc:sldChg chg="del">
        <pc:chgData name="Daniel Cole" userId="f20a75f9320a1647" providerId="LiveId" clId="{42D3E951-AF5C-4164-98AB-2347A3B6E1E6}" dt="2024-03-21T13:11:43.861" v="12794" actId="47"/>
        <pc:sldMkLst>
          <pc:docMk/>
          <pc:sldMk cId="106451022" sldId="260"/>
        </pc:sldMkLst>
      </pc:sldChg>
      <pc:sldChg chg="modSp mod ord">
        <pc:chgData name="Daniel Cole" userId="f20a75f9320a1647" providerId="LiveId" clId="{42D3E951-AF5C-4164-98AB-2347A3B6E1E6}" dt="2024-03-21T19:10:23.577" v="18857" actId="20577"/>
        <pc:sldMkLst>
          <pc:docMk/>
          <pc:sldMk cId="2720789136" sldId="261"/>
        </pc:sldMkLst>
        <pc:spChg chg="mod">
          <ac:chgData name="Daniel Cole" userId="f20a75f9320a1647" providerId="LiveId" clId="{42D3E951-AF5C-4164-98AB-2347A3B6E1E6}" dt="2024-03-21T19:10:23.577" v="18857" actId="20577"/>
          <ac:spMkLst>
            <pc:docMk/>
            <pc:sldMk cId="2720789136" sldId="261"/>
            <ac:spMk id="7" creationId="{B78FD69E-A913-AB72-7388-F9C0CDB98791}"/>
          </ac:spMkLst>
        </pc:spChg>
        <pc:spChg chg="mod">
          <ac:chgData name="Daniel Cole" userId="f20a75f9320a1647" providerId="LiveId" clId="{42D3E951-AF5C-4164-98AB-2347A3B6E1E6}" dt="2024-03-21T19:10:18.952" v="18850" actId="20577"/>
          <ac:spMkLst>
            <pc:docMk/>
            <pc:sldMk cId="2720789136" sldId="261"/>
            <ac:spMk id="8" creationId="{4E9F585E-56D4-3165-2C7F-474DECC838ED}"/>
          </ac:spMkLst>
        </pc:spChg>
        <pc:spChg chg="mod">
          <ac:chgData name="Daniel Cole" userId="f20a75f9320a1647" providerId="LiveId" clId="{42D3E951-AF5C-4164-98AB-2347A3B6E1E6}" dt="2024-03-19T01:21:39.203" v="5117" actId="207"/>
          <ac:spMkLst>
            <pc:docMk/>
            <pc:sldMk cId="2720789136" sldId="261"/>
            <ac:spMk id="9" creationId="{7E50727D-C2A0-6CD5-1DC9-BFB0D0E4B63C}"/>
          </ac:spMkLst>
        </pc:spChg>
      </pc:sldChg>
      <pc:sldChg chg="addSp modSp add del mod ord">
        <pc:chgData name="Daniel Cole" userId="f20a75f9320a1647" providerId="LiveId" clId="{42D3E951-AF5C-4164-98AB-2347A3B6E1E6}" dt="2024-03-21T19:11:00.528" v="18859" actId="207"/>
        <pc:sldMkLst>
          <pc:docMk/>
          <pc:sldMk cId="2328948590" sldId="262"/>
        </pc:sldMkLst>
        <pc:spChg chg="mod">
          <ac:chgData name="Daniel Cole" userId="f20a75f9320a1647" providerId="LiveId" clId="{42D3E951-AF5C-4164-98AB-2347A3B6E1E6}" dt="2024-03-21T19:11:00.528" v="18859" actId="207"/>
          <ac:spMkLst>
            <pc:docMk/>
            <pc:sldMk cId="2328948590" sldId="262"/>
            <ac:spMk id="36" creationId="{1B4A82E9-B3DD-EE56-6D31-AE22E64686C9}"/>
          </ac:spMkLst>
        </pc:spChg>
        <pc:spChg chg="mod">
          <ac:chgData name="Daniel Cole" userId="f20a75f9320a1647" providerId="LiveId" clId="{42D3E951-AF5C-4164-98AB-2347A3B6E1E6}" dt="2024-03-21T19:10:44.599" v="18858" actId="113"/>
          <ac:spMkLst>
            <pc:docMk/>
            <pc:sldMk cId="2328948590" sldId="262"/>
            <ac:spMk id="41" creationId="{9D3BEF20-8D7B-9A92-0917-067C8262DF6D}"/>
          </ac:spMkLst>
        </pc:spChg>
        <pc:spChg chg="mod">
          <ac:chgData name="Daniel Cole" userId="f20a75f9320a1647" providerId="LiveId" clId="{42D3E951-AF5C-4164-98AB-2347A3B6E1E6}" dt="2024-03-21T13:33:59.804" v="12962" actId="20577"/>
          <ac:spMkLst>
            <pc:docMk/>
            <pc:sldMk cId="2328948590" sldId="262"/>
            <ac:spMk id="43" creationId="{21D5168C-8F9D-902E-A2D9-89819561EF0A}"/>
          </ac:spMkLst>
        </pc:spChg>
        <pc:spChg chg="mod">
          <ac:chgData name="Daniel Cole" userId="f20a75f9320a1647" providerId="LiveId" clId="{42D3E951-AF5C-4164-98AB-2347A3B6E1E6}" dt="2024-03-19T17:27:03.509" v="5339" actId="1035"/>
          <ac:spMkLst>
            <pc:docMk/>
            <pc:sldMk cId="2328948590" sldId="262"/>
            <ac:spMk id="46" creationId="{A7B729D9-63C3-645A-53A9-7CED538F9959}"/>
          </ac:spMkLst>
        </pc:spChg>
        <pc:spChg chg="mod">
          <ac:chgData name="Daniel Cole" userId="f20a75f9320a1647" providerId="LiveId" clId="{42D3E951-AF5C-4164-98AB-2347A3B6E1E6}" dt="2024-03-19T17:28:27.424" v="5350" actId="1036"/>
          <ac:spMkLst>
            <pc:docMk/>
            <pc:sldMk cId="2328948590" sldId="262"/>
            <ac:spMk id="97" creationId="{A030BA7C-2C50-64C7-EE0B-2AEF763052A1}"/>
          </ac:spMkLst>
        </pc:spChg>
        <pc:spChg chg="mod">
          <ac:chgData name="Daniel Cole" userId="f20a75f9320a1647" providerId="LiveId" clId="{42D3E951-AF5C-4164-98AB-2347A3B6E1E6}" dt="2024-03-19T17:26:20.673" v="5328" actId="20577"/>
          <ac:spMkLst>
            <pc:docMk/>
            <pc:sldMk cId="2328948590" sldId="262"/>
            <ac:spMk id="98" creationId="{753A54FB-8E04-5572-DB95-697F2E6226C6}"/>
          </ac:spMkLst>
        </pc:spChg>
        <pc:spChg chg="mod">
          <ac:chgData name="Daniel Cole" userId="f20a75f9320a1647" providerId="LiveId" clId="{42D3E951-AF5C-4164-98AB-2347A3B6E1E6}" dt="2024-03-19T01:21:43.428" v="5118" actId="207"/>
          <ac:spMkLst>
            <pc:docMk/>
            <pc:sldMk cId="2328948590" sldId="262"/>
            <ac:spMk id="141" creationId="{5E970F21-96ED-178C-8D94-CF5D58465885}"/>
          </ac:spMkLst>
        </pc:spChg>
        <pc:grpChg chg="mod">
          <ac:chgData name="Daniel Cole" userId="f20a75f9320a1647" providerId="LiveId" clId="{42D3E951-AF5C-4164-98AB-2347A3B6E1E6}" dt="2024-03-18T19:56:46.791" v="109" actId="1076"/>
          <ac:grpSpMkLst>
            <pc:docMk/>
            <pc:sldMk cId="2328948590" sldId="262"/>
            <ac:grpSpMk id="49" creationId="{D3B761EB-E2AE-4A3B-3867-00E82EBE79F3}"/>
          </ac:grpSpMkLst>
        </pc:grpChg>
        <pc:picChg chg="add mod">
          <ac:chgData name="Daniel Cole" userId="f20a75f9320a1647" providerId="LiveId" clId="{42D3E951-AF5C-4164-98AB-2347A3B6E1E6}" dt="2024-03-18T22:06:59.512" v="1250" actId="1076"/>
          <ac:picMkLst>
            <pc:docMk/>
            <pc:sldMk cId="2328948590" sldId="262"/>
            <ac:picMk id="2" creationId="{0876B720-7BA4-26FA-A400-9C7FED3F71CD}"/>
          </ac:picMkLst>
        </pc:picChg>
        <pc:picChg chg="add mod modCrop">
          <ac:chgData name="Daniel Cole" userId="f20a75f9320a1647" providerId="LiveId" clId="{42D3E951-AF5C-4164-98AB-2347A3B6E1E6}" dt="2024-03-18T22:05:53.925" v="1180" actId="1076"/>
          <ac:picMkLst>
            <pc:docMk/>
            <pc:sldMk cId="2328948590" sldId="262"/>
            <ac:picMk id="3" creationId="{B33D24D6-FB52-2CBA-4885-3E2F5C9684F1}"/>
          </ac:picMkLst>
        </pc:picChg>
        <pc:picChg chg="add mod modCrop">
          <ac:chgData name="Daniel Cole" userId="f20a75f9320a1647" providerId="LiveId" clId="{42D3E951-AF5C-4164-98AB-2347A3B6E1E6}" dt="2024-03-18T22:07:23.692" v="1278" actId="1036"/>
          <ac:picMkLst>
            <pc:docMk/>
            <pc:sldMk cId="2328948590" sldId="262"/>
            <ac:picMk id="5" creationId="{102E31FE-5E64-0C77-C177-FDF9FCAED62F}"/>
          </ac:picMkLst>
        </pc:picChg>
        <pc:picChg chg="mod">
          <ac:chgData name="Daniel Cole" userId="f20a75f9320a1647" providerId="LiveId" clId="{42D3E951-AF5C-4164-98AB-2347A3B6E1E6}" dt="2024-03-18T22:06:41.646" v="1242" actId="1037"/>
          <ac:picMkLst>
            <pc:docMk/>
            <pc:sldMk cId="2328948590" sldId="262"/>
            <ac:picMk id="86" creationId="{E1FCD716-1EC2-426E-1391-41E859FCA62C}"/>
          </ac:picMkLst>
        </pc:picChg>
        <pc:picChg chg="mod">
          <ac:chgData name="Daniel Cole" userId="f20a75f9320a1647" providerId="LiveId" clId="{42D3E951-AF5C-4164-98AB-2347A3B6E1E6}" dt="2024-03-18T22:06:15.483" v="1197" actId="1035"/>
          <ac:picMkLst>
            <pc:docMk/>
            <pc:sldMk cId="2328948590" sldId="262"/>
            <ac:picMk id="111" creationId="{859851D9-979D-2B9B-C4F1-4F929C3733EE}"/>
          </ac:picMkLst>
        </pc:picChg>
        <pc:picChg chg="mod">
          <ac:chgData name="Daniel Cole" userId="f20a75f9320a1647" providerId="LiveId" clId="{42D3E951-AF5C-4164-98AB-2347A3B6E1E6}" dt="2024-03-18T20:07:38.457" v="118" actId="1076"/>
          <ac:picMkLst>
            <pc:docMk/>
            <pc:sldMk cId="2328948590" sldId="262"/>
            <ac:picMk id="112" creationId="{EEEDA034-DB34-1C8D-F549-E8D972A9569D}"/>
          </ac:picMkLst>
        </pc:picChg>
        <pc:picChg chg="mod">
          <ac:chgData name="Daniel Cole" userId="f20a75f9320a1647" providerId="LiveId" clId="{42D3E951-AF5C-4164-98AB-2347A3B6E1E6}" dt="2024-03-18T22:05:45.975" v="1179" actId="1076"/>
          <ac:picMkLst>
            <pc:docMk/>
            <pc:sldMk cId="2328948590" sldId="262"/>
            <ac:picMk id="120" creationId="{55FDA6E4-DE97-7488-7BE4-EEA32BEC04F2}"/>
          </ac:picMkLst>
        </pc:picChg>
        <pc:picChg chg="mod">
          <ac:chgData name="Daniel Cole" userId="f20a75f9320a1647" providerId="LiveId" clId="{42D3E951-AF5C-4164-98AB-2347A3B6E1E6}" dt="2024-03-18T22:07:17.163" v="1268" actId="1035"/>
          <ac:picMkLst>
            <pc:docMk/>
            <pc:sldMk cId="2328948590" sldId="262"/>
            <ac:picMk id="124" creationId="{CDE05BED-1A97-0D5B-399D-1765F701ED8A}"/>
          </ac:picMkLst>
        </pc:picChg>
        <pc:picChg chg="mod">
          <ac:chgData name="Daniel Cole" userId="f20a75f9320a1647" providerId="LiveId" clId="{42D3E951-AF5C-4164-98AB-2347A3B6E1E6}" dt="2024-03-18T22:07:01.655" v="1255" actId="1038"/>
          <ac:picMkLst>
            <pc:docMk/>
            <pc:sldMk cId="2328948590" sldId="262"/>
            <ac:picMk id="127" creationId="{1EA5B52A-CB2E-0333-273E-903053F5C5FD}"/>
          </ac:picMkLst>
        </pc:picChg>
        <pc:picChg chg="mod">
          <ac:chgData name="Daniel Cole" userId="f20a75f9320a1647" providerId="LiveId" clId="{42D3E951-AF5C-4164-98AB-2347A3B6E1E6}" dt="2024-03-18T22:07:19.920" v="1273" actId="1037"/>
          <ac:picMkLst>
            <pc:docMk/>
            <pc:sldMk cId="2328948590" sldId="262"/>
            <ac:picMk id="128" creationId="{ADC37A9D-07E1-7F7C-0562-4D9792BC1D73}"/>
          </ac:picMkLst>
        </pc:picChg>
        <pc:picChg chg="mod">
          <ac:chgData name="Daniel Cole" userId="f20a75f9320a1647" providerId="LiveId" clId="{42D3E951-AF5C-4164-98AB-2347A3B6E1E6}" dt="2024-03-18T19:56:13.819" v="95" actId="1076"/>
          <ac:picMkLst>
            <pc:docMk/>
            <pc:sldMk cId="2328948590" sldId="262"/>
            <ac:picMk id="129" creationId="{BE34F110-7019-D5A0-EFF1-C4FA864B621D}"/>
          </ac:picMkLst>
        </pc:picChg>
        <pc:picChg chg="mod">
          <ac:chgData name="Daniel Cole" userId="f20a75f9320a1647" providerId="LiveId" clId="{42D3E951-AF5C-4164-98AB-2347A3B6E1E6}" dt="2024-03-18T22:07:09.354" v="1258" actId="1038"/>
          <ac:picMkLst>
            <pc:docMk/>
            <pc:sldMk cId="2328948590" sldId="262"/>
            <ac:picMk id="133" creationId="{7120DCA2-12FA-5A3C-88AC-A65226B6732C}"/>
          </ac:picMkLst>
        </pc:picChg>
        <pc:picChg chg="mod">
          <ac:chgData name="Daniel Cole" userId="f20a75f9320a1647" providerId="LiveId" clId="{42D3E951-AF5C-4164-98AB-2347A3B6E1E6}" dt="2024-03-18T22:06:53.101" v="1248" actId="1035"/>
          <ac:picMkLst>
            <pc:docMk/>
            <pc:sldMk cId="2328948590" sldId="262"/>
            <ac:picMk id="135" creationId="{1678AE22-D460-D0BB-0371-37657306036A}"/>
          </ac:picMkLst>
        </pc:picChg>
      </pc:sldChg>
      <pc:sldChg chg="addSp delSp modSp new del mod">
        <pc:chgData name="Daniel Cole" userId="f20a75f9320a1647" providerId="LiveId" clId="{42D3E951-AF5C-4164-98AB-2347A3B6E1E6}" dt="2024-03-19T00:23:58.441" v="4213" actId="47"/>
        <pc:sldMkLst>
          <pc:docMk/>
          <pc:sldMk cId="3641829631" sldId="263"/>
        </pc:sldMkLst>
        <pc:spChg chg="del mod">
          <ac:chgData name="Daniel Cole" userId="f20a75f9320a1647" providerId="LiveId" clId="{42D3E951-AF5C-4164-98AB-2347A3B6E1E6}" dt="2024-03-18T20:21:53.381" v="126" actId="478"/>
          <ac:spMkLst>
            <pc:docMk/>
            <pc:sldMk cId="3641829631" sldId="263"/>
            <ac:spMk id="2" creationId="{357DE849-9D53-B878-D2B2-DBB526211C66}"/>
          </ac:spMkLst>
        </pc:spChg>
        <pc:spChg chg="del">
          <ac:chgData name="Daniel Cole" userId="f20a75f9320a1647" providerId="LiveId" clId="{42D3E951-AF5C-4164-98AB-2347A3B6E1E6}" dt="2024-03-18T20:21:53.381" v="126" actId="478"/>
          <ac:spMkLst>
            <pc:docMk/>
            <pc:sldMk cId="3641829631" sldId="263"/>
            <ac:spMk id="3" creationId="{81CB49A3-69E6-B0E3-56B9-A8723E1626BB}"/>
          </ac:spMkLst>
        </pc:spChg>
        <pc:spChg chg="add mod">
          <ac:chgData name="Daniel Cole" userId="f20a75f9320a1647" providerId="LiveId" clId="{42D3E951-AF5C-4164-98AB-2347A3B6E1E6}" dt="2024-03-18T20:21:54.402" v="127"/>
          <ac:spMkLst>
            <pc:docMk/>
            <pc:sldMk cId="3641829631" sldId="263"/>
            <ac:spMk id="4" creationId="{94B86703-8EC9-972E-B0FB-BACA0D7AE3F6}"/>
          </ac:spMkLst>
        </pc:spChg>
        <pc:spChg chg="add mod">
          <ac:chgData name="Daniel Cole" userId="f20a75f9320a1647" providerId="LiveId" clId="{42D3E951-AF5C-4164-98AB-2347A3B6E1E6}" dt="2024-03-18T20:21:54.402" v="127"/>
          <ac:spMkLst>
            <pc:docMk/>
            <pc:sldMk cId="3641829631" sldId="263"/>
            <ac:spMk id="5" creationId="{7BF5131F-DC06-D422-8EA6-DA754B7DA07E}"/>
          </ac:spMkLst>
        </pc:spChg>
        <pc:spChg chg="add mod">
          <ac:chgData name="Daniel Cole" userId="f20a75f9320a1647" providerId="LiveId" clId="{42D3E951-AF5C-4164-98AB-2347A3B6E1E6}" dt="2024-03-18T20:21:54.402" v="127"/>
          <ac:spMkLst>
            <pc:docMk/>
            <pc:sldMk cId="3641829631" sldId="263"/>
            <ac:spMk id="6" creationId="{026ECB68-1F59-4515-4765-DE154B077FBA}"/>
          </ac:spMkLst>
        </pc:spChg>
        <pc:spChg chg="add mod">
          <ac:chgData name="Daniel Cole" userId="f20a75f9320a1647" providerId="LiveId" clId="{42D3E951-AF5C-4164-98AB-2347A3B6E1E6}" dt="2024-03-18T20:21:54.402" v="127"/>
          <ac:spMkLst>
            <pc:docMk/>
            <pc:sldMk cId="3641829631" sldId="263"/>
            <ac:spMk id="7" creationId="{8BB81536-E5F4-490B-9096-AD16DE7F218A}"/>
          </ac:spMkLst>
        </pc:spChg>
        <pc:spChg chg="add mod">
          <ac:chgData name="Daniel Cole" userId="f20a75f9320a1647" providerId="LiveId" clId="{42D3E951-AF5C-4164-98AB-2347A3B6E1E6}" dt="2024-03-18T20:21:54.402" v="127"/>
          <ac:spMkLst>
            <pc:docMk/>
            <pc:sldMk cId="3641829631" sldId="263"/>
            <ac:spMk id="8" creationId="{637C7472-E633-D446-3564-543333453FE6}"/>
          </ac:spMkLst>
        </pc:spChg>
        <pc:spChg chg="add mod">
          <ac:chgData name="Daniel Cole" userId="f20a75f9320a1647" providerId="LiveId" clId="{42D3E951-AF5C-4164-98AB-2347A3B6E1E6}" dt="2024-03-18T20:21:54.402" v="127"/>
          <ac:spMkLst>
            <pc:docMk/>
            <pc:sldMk cId="3641829631" sldId="263"/>
            <ac:spMk id="9" creationId="{46F0DC93-5700-CD15-5CB6-C0BB94402A34}"/>
          </ac:spMkLst>
        </pc:spChg>
        <pc:spChg chg="add mod">
          <ac:chgData name="Daniel Cole" userId="f20a75f9320a1647" providerId="LiveId" clId="{42D3E951-AF5C-4164-98AB-2347A3B6E1E6}" dt="2024-03-18T20:21:54.402" v="127"/>
          <ac:spMkLst>
            <pc:docMk/>
            <pc:sldMk cId="3641829631" sldId="263"/>
            <ac:spMk id="10" creationId="{9796DF12-CA07-AEF4-58DC-8D1C4BA61AB6}"/>
          </ac:spMkLst>
        </pc:spChg>
        <pc:spChg chg="add mod">
          <ac:chgData name="Daniel Cole" userId="f20a75f9320a1647" providerId="LiveId" clId="{42D3E951-AF5C-4164-98AB-2347A3B6E1E6}" dt="2024-03-18T20:21:54.402" v="127"/>
          <ac:spMkLst>
            <pc:docMk/>
            <pc:sldMk cId="3641829631" sldId="263"/>
            <ac:spMk id="11" creationId="{AEF310A8-2AEC-1DA5-01F7-8DD7B851A898}"/>
          </ac:spMkLst>
        </pc:spChg>
        <pc:spChg chg="add mod">
          <ac:chgData name="Daniel Cole" userId="f20a75f9320a1647" providerId="LiveId" clId="{42D3E951-AF5C-4164-98AB-2347A3B6E1E6}" dt="2024-03-18T20:21:54.402" v="127"/>
          <ac:spMkLst>
            <pc:docMk/>
            <pc:sldMk cId="3641829631" sldId="263"/>
            <ac:spMk id="12" creationId="{A734740E-647A-9B07-D6C9-753527220667}"/>
          </ac:spMkLst>
        </pc:spChg>
        <pc:spChg chg="add mod">
          <ac:chgData name="Daniel Cole" userId="f20a75f9320a1647" providerId="LiveId" clId="{42D3E951-AF5C-4164-98AB-2347A3B6E1E6}" dt="2024-03-18T20:21:54.402" v="127"/>
          <ac:spMkLst>
            <pc:docMk/>
            <pc:sldMk cId="3641829631" sldId="263"/>
            <ac:spMk id="13" creationId="{5CA3C324-33B2-14C8-726D-E0BEE568FA32}"/>
          </ac:spMkLst>
        </pc:spChg>
        <pc:spChg chg="add mod">
          <ac:chgData name="Daniel Cole" userId="f20a75f9320a1647" providerId="LiveId" clId="{42D3E951-AF5C-4164-98AB-2347A3B6E1E6}" dt="2024-03-18T20:21:54.402" v="127"/>
          <ac:spMkLst>
            <pc:docMk/>
            <pc:sldMk cId="3641829631" sldId="263"/>
            <ac:spMk id="14" creationId="{14B99FB5-537C-EFB9-0684-6DF05307FCB6}"/>
          </ac:spMkLst>
        </pc:spChg>
        <pc:spChg chg="add mod">
          <ac:chgData name="Daniel Cole" userId="f20a75f9320a1647" providerId="LiveId" clId="{42D3E951-AF5C-4164-98AB-2347A3B6E1E6}" dt="2024-03-18T20:21:54.402" v="127"/>
          <ac:spMkLst>
            <pc:docMk/>
            <pc:sldMk cId="3641829631" sldId="263"/>
            <ac:spMk id="15" creationId="{2BB02273-8774-1283-92F8-8753705219C8}"/>
          </ac:spMkLst>
        </pc:spChg>
        <pc:spChg chg="add mod">
          <ac:chgData name="Daniel Cole" userId="f20a75f9320a1647" providerId="LiveId" clId="{42D3E951-AF5C-4164-98AB-2347A3B6E1E6}" dt="2024-03-18T20:21:54.402" v="127"/>
          <ac:spMkLst>
            <pc:docMk/>
            <pc:sldMk cId="3641829631" sldId="263"/>
            <ac:spMk id="16" creationId="{A0335564-B01E-A4AC-7928-8CC276D8C0E5}"/>
          </ac:spMkLst>
        </pc:spChg>
        <pc:spChg chg="add mod">
          <ac:chgData name="Daniel Cole" userId="f20a75f9320a1647" providerId="LiveId" clId="{42D3E951-AF5C-4164-98AB-2347A3B6E1E6}" dt="2024-03-18T20:21:54.402" v="127"/>
          <ac:spMkLst>
            <pc:docMk/>
            <pc:sldMk cId="3641829631" sldId="263"/>
            <ac:spMk id="17" creationId="{EF7FDCC0-753E-7568-5B05-98B69B952B16}"/>
          </ac:spMkLst>
        </pc:spChg>
        <pc:spChg chg="add mod">
          <ac:chgData name="Daniel Cole" userId="f20a75f9320a1647" providerId="LiveId" clId="{42D3E951-AF5C-4164-98AB-2347A3B6E1E6}" dt="2024-03-18T20:21:54.402" v="127"/>
          <ac:spMkLst>
            <pc:docMk/>
            <pc:sldMk cId="3641829631" sldId="263"/>
            <ac:spMk id="18" creationId="{27859BDB-157F-13D5-EFC6-286D0DD46362}"/>
          </ac:spMkLst>
        </pc:spChg>
        <pc:spChg chg="add del mod">
          <ac:chgData name="Daniel Cole" userId="f20a75f9320a1647" providerId="LiveId" clId="{42D3E951-AF5C-4164-98AB-2347A3B6E1E6}" dt="2024-03-18T22:47:46.088" v="2394" actId="478"/>
          <ac:spMkLst>
            <pc:docMk/>
            <pc:sldMk cId="3641829631" sldId="263"/>
            <ac:spMk id="20" creationId="{59A7C390-0EA6-CE9E-D31E-60757D5956ED}"/>
          </ac:spMkLst>
        </pc:spChg>
        <pc:spChg chg="add del mod">
          <ac:chgData name="Daniel Cole" userId="f20a75f9320a1647" providerId="LiveId" clId="{42D3E951-AF5C-4164-98AB-2347A3B6E1E6}" dt="2024-03-18T22:47:46.088" v="2394" actId="478"/>
          <ac:spMkLst>
            <pc:docMk/>
            <pc:sldMk cId="3641829631" sldId="263"/>
            <ac:spMk id="21" creationId="{E431EF29-F060-22B1-AA71-87908E45E503}"/>
          </ac:spMkLst>
        </pc:spChg>
        <pc:spChg chg="add del mod">
          <ac:chgData name="Daniel Cole" userId="f20a75f9320a1647" providerId="LiveId" clId="{42D3E951-AF5C-4164-98AB-2347A3B6E1E6}" dt="2024-03-18T20:49:23.867" v="524" actId="478"/>
          <ac:spMkLst>
            <pc:docMk/>
            <pc:sldMk cId="3641829631" sldId="263"/>
            <ac:spMk id="22" creationId="{F21702A5-60B1-7317-F9AD-38082BB7AEB6}"/>
          </ac:spMkLst>
        </pc:spChg>
        <pc:spChg chg="add del mod">
          <ac:chgData name="Daniel Cole" userId="f20a75f9320a1647" providerId="LiveId" clId="{42D3E951-AF5C-4164-98AB-2347A3B6E1E6}" dt="2024-03-18T22:47:46.088" v="2394" actId="478"/>
          <ac:spMkLst>
            <pc:docMk/>
            <pc:sldMk cId="3641829631" sldId="263"/>
            <ac:spMk id="23" creationId="{62B2B19C-F2DA-C8DE-23B7-3588707B30F7}"/>
          </ac:spMkLst>
        </pc:spChg>
        <pc:spChg chg="add del mod">
          <ac:chgData name="Daniel Cole" userId="f20a75f9320a1647" providerId="LiveId" clId="{42D3E951-AF5C-4164-98AB-2347A3B6E1E6}" dt="2024-03-18T20:28:42.337" v="164" actId="478"/>
          <ac:spMkLst>
            <pc:docMk/>
            <pc:sldMk cId="3641829631" sldId="263"/>
            <ac:spMk id="24" creationId="{AEA62E99-6D9A-1C66-3CED-8051E034E802}"/>
          </ac:spMkLst>
        </pc:spChg>
        <pc:spChg chg="add mod">
          <ac:chgData name="Daniel Cole" userId="f20a75f9320a1647" providerId="LiveId" clId="{42D3E951-AF5C-4164-98AB-2347A3B6E1E6}" dt="2024-03-18T21:59:35.824" v="1123" actId="20577"/>
          <ac:spMkLst>
            <pc:docMk/>
            <pc:sldMk cId="3641829631" sldId="263"/>
            <ac:spMk id="25" creationId="{5F254E07-0505-1665-566C-7B3779AC88A9}"/>
          </ac:spMkLst>
        </pc:spChg>
        <pc:spChg chg="add mod">
          <ac:chgData name="Daniel Cole" userId="f20a75f9320a1647" providerId="LiveId" clId="{42D3E951-AF5C-4164-98AB-2347A3B6E1E6}" dt="2024-03-18T21:21:43.115" v="872" actId="1035"/>
          <ac:spMkLst>
            <pc:docMk/>
            <pc:sldMk cId="3641829631" sldId="263"/>
            <ac:spMk id="26" creationId="{E693122F-1621-24F7-758C-B4C7D4BD07A6}"/>
          </ac:spMkLst>
        </pc:spChg>
        <pc:spChg chg="add mod">
          <ac:chgData name="Daniel Cole" userId="f20a75f9320a1647" providerId="LiveId" clId="{42D3E951-AF5C-4164-98AB-2347A3B6E1E6}" dt="2024-03-18T21:59:46.535" v="1130" actId="20577"/>
          <ac:spMkLst>
            <pc:docMk/>
            <pc:sldMk cId="3641829631" sldId="263"/>
            <ac:spMk id="27" creationId="{9389FF68-EC58-3E31-A5C0-36F46EA1BD61}"/>
          </ac:spMkLst>
        </pc:spChg>
        <pc:spChg chg="add mod">
          <ac:chgData name="Daniel Cole" userId="f20a75f9320a1647" providerId="LiveId" clId="{42D3E951-AF5C-4164-98AB-2347A3B6E1E6}" dt="2024-03-18T21:21:43.115" v="872" actId="1035"/>
          <ac:spMkLst>
            <pc:docMk/>
            <pc:sldMk cId="3641829631" sldId="263"/>
            <ac:spMk id="28" creationId="{224CE267-74F5-2957-6D08-3291C06DA919}"/>
          </ac:spMkLst>
        </pc:spChg>
        <pc:spChg chg="add mod">
          <ac:chgData name="Daniel Cole" userId="f20a75f9320a1647" providerId="LiveId" clId="{42D3E951-AF5C-4164-98AB-2347A3B6E1E6}" dt="2024-03-18T22:00:13.800" v="1138" actId="14100"/>
          <ac:spMkLst>
            <pc:docMk/>
            <pc:sldMk cId="3641829631" sldId="263"/>
            <ac:spMk id="29" creationId="{29D6EB70-14AD-0F5B-1678-2CC4059085AC}"/>
          </ac:spMkLst>
        </pc:spChg>
        <pc:spChg chg="add del mod">
          <ac:chgData name="Daniel Cole" userId="f20a75f9320a1647" providerId="LiveId" clId="{42D3E951-AF5C-4164-98AB-2347A3B6E1E6}" dt="2024-03-18T21:24:59.211" v="1016" actId="478"/>
          <ac:spMkLst>
            <pc:docMk/>
            <pc:sldMk cId="3641829631" sldId="263"/>
            <ac:spMk id="30" creationId="{7A83A94E-C3F1-E0C2-A301-2E4233084997}"/>
          </ac:spMkLst>
        </pc:spChg>
        <pc:spChg chg="add mod">
          <ac:chgData name="Daniel Cole" userId="f20a75f9320a1647" providerId="LiveId" clId="{42D3E951-AF5C-4164-98AB-2347A3B6E1E6}" dt="2024-03-18T22:15:17.188" v="1491" actId="20577"/>
          <ac:spMkLst>
            <pc:docMk/>
            <pc:sldMk cId="3641829631" sldId="263"/>
            <ac:spMk id="31" creationId="{780ED6DB-5873-6A45-E67F-7CDD7526ED4F}"/>
          </ac:spMkLst>
        </pc:spChg>
        <pc:spChg chg="add del mod">
          <ac:chgData name="Daniel Cole" userId="f20a75f9320a1647" providerId="LiveId" clId="{42D3E951-AF5C-4164-98AB-2347A3B6E1E6}" dt="2024-03-18T21:24:59.211" v="1016" actId="478"/>
          <ac:spMkLst>
            <pc:docMk/>
            <pc:sldMk cId="3641829631" sldId="263"/>
            <ac:spMk id="32" creationId="{A1D1695B-1E52-49CF-9322-0E8831FAFD0E}"/>
          </ac:spMkLst>
        </pc:spChg>
        <pc:spChg chg="add mod">
          <ac:chgData name="Daniel Cole" userId="f20a75f9320a1647" providerId="LiveId" clId="{42D3E951-AF5C-4164-98AB-2347A3B6E1E6}" dt="2024-03-18T22:15:04.963" v="1484" actId="20577"/>
          <ac:spMkLst>
            <pc:docMk/>
            <pc:sldMk cId="3641829631" sldId="263"/>
            <ac:spMk id="33" creationId="{3A22CE68-4771-10C3-5C66-2F04929DF561}"/>
          </ac:spMkLst>
        </pc:spChg>
        <pc:spChg chg="add del mod">
          <ac:chgData name="Daniel Cole" userId="f20a75f9320a1647" providerId="LiveId" clId="{42D3E951-AF5C-4164-98AB-2347A3B6E1E6}" dt="2024-03-18T21:24:59.211" v="1016" actId="478"/>
          <ac:spMkLst>
            <pc:docMk/>
            <pc:sldMk cId="3641829631" sldId="263"/>
            <ac:spMk id="34" creationId="{2A184937-4A4C-9D72-24F4-3997CD07B370}"/>
          </ac:spMkLst>
        </pc:spChg>
        <pc:spChg chg="add del">
          <ac:chgData name="Daniel Cole" userId="f20a75f9320a1647" providerId="LiveId" clId="{42D3E951-AF5C-4164-98AB-2347A3B6E1E6}" dt="2024-03-18T20:48:51.488" v="517" actId="11529"/>
          <ac:spMkLst>
            <pc:docMk/>
            <pc:sldMk cId="3641829631" sldId="263"/>
            <ac:spMk id="44" creationId="{C79EC806-E8B1-4061-D0E3-B80C2B96ECFB}"/>
          </ac:spMkLst>
        </pc:spChg>
        <pc:spChg chg="add mod">
          <ac:chgData name="Daniel Cole" userId="f20a75f9320a1647" providerId="LiveId" clId="{42D3E951-AF5C-4164-98AB-2347A3B6E1E6}" dt="2024-03-18T22:35:35.988" v="2292" actId="14100"/>
          <ac:spMkLst>
            <pc:docMk/>
            <pc:sldMk cId="3641829631" sldId="263"/>
            <ac:spMk id="46" creationId="{63114FE4-3F2F-0A75-6D9A-B14E5F6A9B35}"/>
          </ac:spMkLst>
        </pc:spChg>
        <pc:spChg chg="add del mod">
          <ac:chgData name="Daniel Cole" userId="f20a75f9320a1647" providerId="LiveId" clId="{42D3E951-AF5C-4164-98AB-2347A3B6E1E6}" dt="2024-03-18T21:24:55.996" v="1015" actId="478"/>
          <ac:spMkLst>
            <pc:docMk/>
            <pc:sldMk cId="3641829631" sldId="263"/>
            <ac:spMk id="47" creationId="{7428C68C-81EC-E3DC-C230-D5206FF4D523}"/>
          </ac:spMkLst>
        </pc:spChg>
        <pc:spChg chg="add del mod">
          <ac:chgData name="Daniel Cole" userId="f20a75f9320a1647" providerId="LiveId" clId="{42D3E951-AF5C-4164-98AB-2347A3B6E1E6}" dt="2024-03-18T22:15:30.603" v="1492" actId="478"/>
          <ac:spMkLst>
            <pc:docMk/>
            <pc:sldMk cId="3641829631" sldId="263"/>
            <ac:spMk id="48" creationId="{7D57FCD8-D2EC-1C5A-897C-44D6B55F64C2}"/>
          </ac:spMkLst>
        </pc:spChg>
        <pc:spChg chg="add del mod">
          <ac:chgData name="Daniel Cole" userId="f20a75f9320a1647" providerId="LiveId" clId="{42D3E951-AF5C-4164-98AB-2347A3B6E1E6}" dt="2024-03-18T21:24:55.996" v="1015" actId="478"/>
          <ac:spMkLst>
            <pc:docMk/>
            <pc:sldMk cId="3641829631" sldId="263"/>
            <ac:spMk id="49" creationId="{13DA428A-5D31-8304-570E-E679D429B361}"/>
          </ac:spMkLst>
        </pc:spChg>
        <pc:spChg chg="add del mod">
          <ac:chgData name="Daniel Cole" userId="f20a75f9320a1647" providerId="LiveId" clId="{42D3E951-AF5C-4164-98AB-2347A3B6E1E6}" dt="2024-03-18T21:23:46.219" v="975" actId="478"/>
          <ac:spMkLst>
            <pc:docMk/>
            <pc:sldMk cId="3641829631" sldId="263"/>
            <ac:spMk id="50" creationId="{1A0508C2-259B-65E3-1E99-A2A74F89AB82}"/>
          </ac:spMkLst>
        </pc:spChg>
        <pc:spChg chg="add del mod">
          <ac:chgData name="Daniel Cole" userId="f20a75f9320a1647" providerId="LiveId" clId="{42D3E951-AF5C-4164-98AB-2347A3B6E1E6}" dt="2024-03-18T21:23:46.219" v="975" actId="478"/>
          <ac:spMkLst>
            <pc:docMk/>
            <pc:sldMk cId="3641829631" sldId="263"/>
            <ac:spMk id="51" creationId="{34CE0771-9223-3C4E-0949-511EBE861A67}"/>
          </ac:spMkLst>
        </pc:spChg>
        <pc:spChg chg="add mod">
          <ac:chgData name="Daniel Cole" userId="f20a75f9320a1647" providerId="LiveId" clId="{42D3E951-AF5C-4164-98AB-2347A3B6E1E6}" dt="2024-03-18T21:24:28.275" v="977"/>
          <ac:spMkLst>
            <pc:docMk/>
            <pc:sldMk cId="3641829631" sldId="263"/>
            <ac:spMk id="52" creationId="{87253AC4-FC87-B626-470A-4120F86E85AD}"/>
          </ac:spMkLst>
        </pc:spChg>
        <pc:spChg chg="add mod">
          <ac:chgData name="Daniel Cole" userId="f20a75f9320a1647" providerId="LiveId" clId="{42D3E951-AF5C-4164-98AB-2347A3B6E1E6}" dt="2024-03-18T21:24:28.275" v="977"/>
          <ac:spMkLst>
            <pc:docMk/>
            <pc:sldMk cId="3641829631" sldId="263"/>
            <ac:spMk id="53" creationId="{9614F3AF-7392-1B3F-4ACA-F4144A8D350F}"/>
          </ac:spMkLst>
        </pc:spChg>
        <pc:spChg chg="add del mod">
          <ac:chgData name="Daniel Cole" userId="f20a75f9320a1647" providerId="LiveId" clId="{42D3E951-AF5C-4164-98AB-2347A3B6E1E6}" dt="2024-03-18T21:24:55.996" v="1015" actId="478"/>
          <ac:spMkLst>
            <pc:docMk/>
            <pc:sldMk cId="3641829631" sldId="263"/>
            <ac:spMk id="54" creationId="{D8FEF793-01FE-3883-1648-20123C909660}"/>
          </ac:spMkLst>
        </pc:spChg>
        <pc:spChg chg="add del mod">
          <ac:chgData name="Daniel Cole" userId="f20a75f9320a1647" providerId="LiveId" clId="{42D3E951-AF5C-4164-98AB-2347A3B6E1E6}" dt="2024-03-18T21:24:55.996" v="1015" actId="478"/>
          <ac:spMkLst>
            <pc:docMk/>
            <pc:sldMk cId="3641829631" sldId="263"/>
            <ac:spMk id="55" creationId="{DA82567C-4808-87CA-CA69-3D81427A7E00}"/>
          </ac:spMkLst>
        </pc:spChg>
        <pc:spChg chg="add mod">
          <ac:chgData name="Daniel Cole" userId="f20a75f9320a1647" providerId="LiveId" clId="{42D3E951-AF5C-4164-98AB-2347A3B6E1E6}" dt="2024-03-18T22:35:43.467" v="2301" actId="20577"/>
          <ac:spMkLst>
            <pc:docMk/>
            <pc:sldMk cId="3641829631" sldId="263"/>
            <ac:spMk id="56" creationId="{CEEDD84A-391B-F460-AA1A-226778F045A5}"/>
          </ac:spMkLst>
        </pc:spChg>
        <pc:spChg chg="add mod">
          <ac:chgData name="Daniel Cole" userId="f20a75f9320a1647" providerId="LiveId" clId="{42D3E951-AF5C-4164-98AB-2347A3B6E1E6}" dt="2024-03-18T22:36:06.240" v="2310" actId="20577"/>
          <ac:spMkLst>
            <pc:docMk/>
            <pc:sldMk cId="3641829631" sldId="263"/>
            <ac:spMk id="57" creationId="{BCC6A1B5-8F9F-8783-38FC-31486C3ECE23}"/>
          </ac:spMkLst>
        </pc:spChg>
        <pc:spChg chg="add del mod">
          <ac:chgData name="Daniel Cole" userId="f20a75f9320a1647" providerId="LiveId" clId="{42D3E951-AF5C-4164-98AB-2347A3B6E1E6}" dt="2024-03-18T21:53:37.937" v="1097" actId="47"/>
          <ac:spMkLst>
            <pc:docMk/>
            <pc:sldMk cId="3641829631" sldId="263"/>
            <ac:spMk id="58" creationId="{4D13736F-8091-90BA-84C4-EB9744C2A901}"/>
          </ac:spMkLst>
        </pc:spChg>
        <pc:spChg chg="add del">
          <ac:chgData name="Daniel Cole" userId="f20a75f9320a1647" providerId="LiveId" clId="{42D3E951-AF5C-4164-98AB-2347A3B6E1E6}" dt="2024-03-18T21:53:36.069" v="1096" actId="22"/>
          <ac:spMkLst>
            <pc:docMk/>
            <pc:sldMk cId="3641829631" sldId="263"/>
            <ac:spMk id="60" creationId="{F9F7863F-2562-00E0-D73C-BA5276EEEAD5}"/>
          </ac:spMkLst>
        </pc:spChg>
        <pc:spChg chg="add mod">
          <ac:chgData name="Daniel Cole" userId="f20a75f9320a1647" providerId="LiveId" clId="{42D3E951-AF5C-4164-98AB-2347A3B6E1E6}" dt="2024-03-18T22:25:03.940" v="2080" actId="20577"/>
          <ac:spMkLst>
            <pc:docMk/>
            <pc:sldMk cId="3641829631" sldId="263"/>
            <ac:spMk id="62" creationId="{23D172AA-7DF9-35F0-E36C-970C1C8996E4}"/>
          </ac:spMkLst>
        </pc:spChg>
        <pc:spChg chg="add mod">
          <ac:chgData name="Daniel Cole" userId="f20a75f9320a1647" providerId="LiveId" clId="{42D3E951-AF5C-4164-98AB-2347A3B6E1E6}" dt="2024-03-18T22:12:14.889" v="1335" actId="108"/>
          <ac:spMkLst>
            <pc:docMk/>
            <pc:sldMk cId="3641829631" sldId="263"/>
            <ac:spMk id="63" creationId="{BDEB9558-8EDA-DD23-CC9F-12E4F720C24C}"/>
          </ac:spMkLst>
        </pc:spChg>
        <pc:spChg chg="add mod">
          <ac:chgData name="Daniel Cole" userId="f20a75f9320a1647" providerId="LiveId" clId="{42D3E951-AF5C-4164-98AB-2347A3B6E1E6}" dt="2024-03-18T22:14:03.281" v="1475" actId="20577"/>
          <ac:spMkLst>
            <pc:docMk/>
            <pc:sldMk cId="3641829631" sldId="263"/>
            <ac:spMk id="1024" creationId="{E039D178-4F56-3DC3-274A-158B7CE20CD3}"/>
          </ac:spMkLst>
        </pc:spChg>
        <pc:spChg chg="add mod">
          <ac:chgData name="Daniel Cole" userId="f20a75f9320a1647" providerId="LiveId" clId="{42D3E951-AF5C-4164-98AB-2347A3B6E1E6}" dt="2024-03-18T23:51:17.156" v="3539" actId="20577"/>
          <ac:spMkLst>
            <pc:docMk/>
            <pc:sldMk cId="3641829631" sldId="263"/>
            <ac:spMk id="1025" creationId="{FB16C608-BFC7-FC2D-6575-F37B579C1824}"/>
          </ac:spMkLst>
        </pc:spChg>
        <pc:spChg chg="add mod">
          <ac:chgData name="Daniel Cole" userId="f20a75f9320a1647" providerId="LiveId" clId="{42D3E951-AF5C-4164-98AB-2347A3B6E1E6}" dt="2024-03-18T22:21:47.500" v="1971" actId="108"/>
          <ac:spMkLst>
            <pc:docMk/>
            <pc:sldMk cId="3641829631" sldId="263"/>
            <ac:spMk id="1027" creationId="{EADE0B31-B8C0-AFC2-2834-EEFDC133BBE6}"/>
          </ac:spMkLst>
        </pc:spChg>
        <pc:spChg chg="add mod">
          <ac:chgData name="Daniel Cole" userId="f20a75f9320a1647" providerId="LiveId" clId="{42D3E951-AF5C-4164-98AB-2347A3B6E1E6}" dt="2024-03-18T22:22:51.430" v="2017" actId="20577"/>
          <ac:spMkLst>
            <pc:docMk/>
            <pc:sldMk cId="3641829631" sldId="263"/>
            <ac:spMk id="1029" creationId="{C7312474-B365-39BE-5E01-B9C872A6C341}"/>
          </ac:spMkLst>
        </pc:spChg>
        <pc:spChg chg="add mod">
          <ac:chgData name="Daniel Cole" userId="f20a75f9320a1647" providerId="LiveId" clId="{42D3E951-AF5C-4164-98AB-2347A3B6E1E6}" dt="2024-03-18T22:27:45.399" v="2280" actId="14100"/>
          <ac:spMkLst>
            <pc:docMk/>
            <pc:sldMk cId="3641829631" sldId="263"/>
            <ac:spMk id="1030" creationId="{6F3BA905-587F-DA20-F1AE-2D0C51EABADD}"/>
          </ac:spMkLst>
        </pc:spChg>
        <pc:spChg chg="add mod">
          <ac:chgData name="Daniel Cole" userId="f20a75f9320a1647" providerId="LiveId" clId="{42D3E951-AF5C-4164-98AB-2347A3B6E1E6}" dt="2024-03-18T22:27:23.473" v="2272" actId="20577"/>
          <ac:spMkLst>
            <pc:docMk/>
            <pc:sldMk cId="3641829631" sldId="263"/>
            <ac:spMk id="1031" creationId="{6C1E79BD-BE9E-C3FD-16BA-ECDB5B8189E8}"/>
          </ac:spMkLst>
        </pc:spChg>
        <pc:spChg chg="add del">
          <ac:chgData name="Daniel Cole" userId="f20a75f9320a1647" providerId="LiveId" clId="{42D3E951-AF5C-4164-98AB-2347A3B6E1E6}" dt="2024-03-18T22:54:23.766" v="2444" actId="478"/>
          <ac:spMkLst>
            <pc:docMk/>
            <pc:sldMk cId="3641829631" sldId="263"/>
            <ac:spMk id="1035" creationId="{FF81D4A3-BAF4-698E-A347-B4A688205493}"/>
          </ac:spMkLst>
        </pc:spChg>
        <pc:graphicFrameChg chg="add del mod">
          <ac:chgData name="Daniel Cole" userId="f20a75f9320a1647" providerId="LiveId" clId="{42D3E951-AF5C-4164-98AB-2347A3B6E1E6}" dt="2024-03-18T22:47:43.484" v="2393" actId="478"/>
          <ac:graphicFrameMkLst>
            <pc:docMk/>
            <pc:sldMk cId="3641829631" sldId="263"/>
            <ac:graphicFrameMk id="19" creationId="{ADCFBF3F-DA2B-4A69-FD42-19765A63CA00}"/>
          </ac:graphicFrameMkLst>
        </pc:graphicFrameChg>
        <pc:graphicFrameChg chg="add del mod">
          <ac:chgData name="Daniel Cole" userId="f20a75f9320a1647" providerId="LiveId" clId="{42D3E951-AF5C-4164-98AB-2347A3B6E1E6}" dt="2024-03-18T22:59:59.338" v="2445" actId="478"/>
          <ac:graphicFrameMkLst>
            <pc:docMk/>
            <pc:sldMk cId="3641829631" sldId="263"/>
            <ac:graphicFrameMk id="1034" creationId="{E8D02460-2040-FBD6-983C-6FF5F8BB762B}"/>
          </ac:graphicFrameMkLst>
        </pc:graphicFrameChg>
        <pc:picChg chg="add del mod">
          <ac:chgData name="Daniel Cole" userId="f20a75f9320a1647" providerId="LiveId" clId="{42D3E951-AF5C-4164-98AB-2347A3B6E1E6}" dt="2024-03-18T20:29:55.053" v="215" actId="478"/>
          <ac:picMkLst>
            <pc:docMk/>
            <pc:sldMk cId="3641829631" sldId="263"/>
            <ac:picMk id="35" creationId="{4BE443E9-3F57-1F2A-D7DE-DC64BCADBA0A}"/>
          </ac:picMkLst>
        </pc:picChg>
        <pc:picChg chg="add del mod">
          <ac:chgData name="Daniel Cole" userId="f20a75f9320a1647" providerId="LiveId" clId="{42D3E951-AF5C-4164-98AB-2347A3B6E1E6}" dt="2024-03-18T20:30:32.565" v="220" actId="478"/>
          <ac:picMkLst>
            <pc:docMk/>
            <pc:sldMk cId="3641829631" sldId="263"/>
            <ac:picMk id="36" creationId="{B2D9F64C-2245-EEA3-7C74-6D917B5955CA}"/>
          </ac:picMkLst>
        </pc:picChg>
        <pc:picChg chg="add del mod">
          <ac:chgData name="Daniel Cole" userId="f20a75f9320a1647" providerId="LiveId" clId="{42D3E951-AF5C-4164-98AB-2347A3B6E1E6}" dt="2024-03-18T20:31:11.271" v="259" actId="478"/>
          <ac:picMkLst>
            <pc:docMk/>
            <pc:sldMk cId="3641829631" sldId="263"/>
            <ac:picMk id="37" creationId="{BBBB4386-6663-4184-2CF3-59A0A1895642}"/>
          </ac:picMkLst>
        </pc:picChg>
        <pc:picChg chg="add del mod">
          <ac:chgData name="Daniel Cole" userId="f20a75f9320a1647" providerId="LiveId" clId="{42D3E951-AF5C-4164-98AB-2347A3B6E1E6}" dt="2024-03-18T20:31:23.091" v="274" actId="478"/>
          <ac:picMkLst>
            <pc:docMk/>
            <pc:sldMk cId="3641829631" sldId="263"/>
            <ac:picMk id="38" creationId="{46A0DE19-BE56-5785-FBED-C4F9B62BF3D6}"/>
          </ac:picMkLst>
        </pc:picChg>
        <pc:picChg chg="add del mod">
          <ac:chgData name="Daniel Cole" userId="f20a75f9320a1647" providerId="LiveId" clId="{42D3E951-AF5C-4164-98AB-2347A3B6E1E6}" dt="2024-03-18T20:46:34.703" v="501" actId="478"/>
          <ac:picMkLst>
            <pc:docMk/>
            <pc:sldMk cId="3641829631" sldId="263"/>
            <ac:picMk id="39" creationId="{2961E951-B68C-4044-64D0-A37EBE8DA431}"/>
          </ac:picMkLst>
        </pc:picChg>
        <pc:picChg chg="add del mod">
          <ac:chgData name="Daniel Cole" userId="f20a75f9320a1647" providerId="LiveId" clId="{42D3E951-AF5C-4164-98AB-2347A3B6E1E6}" dt="2024-03-18T20:47:07.003" v="504" actId="478"/>
          <ac:picMkLst>
            <pc:docMk/>
            <pc:sldMk cId="3641829631" sldId="263"/>
            <ac:picMk id="40" creationId="{F062619F-088B-229E-4E49-356B88736C6B}"/>
          </ac:picMkLst>
        </pc:picChg>
        <pc:picChg chg="add del">
          <ac:chgData name="Daniel Cole" userId="f20a75f9320a1647" providerId="LiveId" clId="{42D3E951-AF5C-4164-98AB-2347A3B6E1E6}" dt="2024-03-18T20:47:32.790" v="506" actId="478"/>
          <ac:picMkLst>
            <pc:docMk/>
            <pc:sldMk cId="3641829631" sldId="263"/>
            <ac:picMk id="41" creationId="{998397A3-2D4D-5A0F-05F2-52ABB66E8AE8}"/>
          </ac:picMkLst>
        </pc:picChg>
        <pc:picChg chg="add del mod">
          <ac:chgData name="Daniel Cole" userId="f20a75f9320a1647" providerId="LiveId" clId="{42D3E951-AF5C-4164-98AB-2347A3B6E1E6}" dt="2024-03-18T20:47:55.218" v="510" actId="478"/>
          <ac:picMkLst>
            <pc:docMk/>
            <pc:sldMk cId="3641829631" sldId="263"/>
            <ac:picMk id="42" creationId="{09D80E2F-A971-B683-C446-B4BC85453A9D}"/>
          </ac:picMkLst>
        </pc:picChg>
        <pc:picChg chg="add del mod">
          <ac:chgData name="Daniel Cole" userId="f20a75f9320a1647" providerId="LiveId" clId="{42D3E951-AF5C-4164-98AB-2347A3B6E1E6}" dt="2024-03-18T20:49:50.568" v="531" actId="478"/>
          <ac:picMkLst>
            <pc:docMk/>
            <pc:sldMk cId="3641829631" sldId="263"/>
            <ac:picMk id="43" creationId="{CDFC0742-A776-789E-71AA-2FCB8750980F}"/>
          </ac:picMkLst>
        </pc:picChg>
        <pc:picChg chg="add del mod">
          <ac:chgData name="Daniel Cole" userId="f20a75f9320a1647" providerId="LiveId" clId="{42D3E951-AF5C-4164-98AB-2347A3B6E1E6}" dt="2024-03-18T23:14:39.926" v="2633" actId="21"/>
          <ac:picMkLst>
            <pc:docMk/>
            <pc:sldMk cId="3641829631" sldId="263"/>
            <ac:picMk id="45" creationId="{24000D1C-3439-64D0-0916-0F3CC4EE505D}"/>
          </ac:picMkLst>
        </pc:picChg>
        <pc:picChg chg="add del mod">
          <ac:chgData name="Daniel Cole" userId="f20a75f9320a1647" providerId="LiveId" clId="{42D3E951-AF5C-4164-98AB-2347A3B6E1E6}" dt="2024-03-18T20:29:08.127" v="190" actId="478"/>
          <ac:picMkLst>
            <pc:docMk/>
            <pc:sldMk cId="3641829631" sldId="263"/>
            <ac:picMk id="1026" creationId="{3B2B4B39-9B90-FDE1-ECA1-FD23235EECDA}"/>
          </ac:picMkLst>
        </pc:picChg>
        <pc:picChg chg="add del mod">
          <ac:chgData name="Daniel Cole" userId="f20a75f9320a1647" providerId="LiveId" clId="{42D3E951-AF5C-4164-98AB-2347A3B6E1E6}" dt="2024-03-18T23:12:35.060" v="2608" actId="21"/>
          <ac:picMkLst>
            <pc:docMk/>
            <pc:sldMk cId="3641829631" sldId="263"/>
            <ac:picMk id="1028" creationId="{6B001147-CF85-5E82-A9E6-C9F47C38718C}"/>
          </ac:picMkLst>
        </pc:picChg>
      </pc:sldChg>
      <pc:sldChg chg="addSp delSp modSp new del mod">
        <pc:chgData name="Daniel Cole" userId="f20a75f9320a1647" providerId="LiveId" clId="{42D3E951-AF5C-4164-98AB-2347A3B6E1E6}" dt="2024-03-23T20:31:49.044" v="19414" actId="47"/>
        <pc:sldMkLst>
          <pc:docMk/>
          <pc:sldMk cId="4081603858" sldId="263"/>
        </pc:sldMkLst>
        <pc:spChg chg="add del mod">
          <ac:chgData name="Daniel Cole" userId="f20a75f9320a1647" providerId="LiveId" clId="{42D3E951-AF5C-4164-98AB-2347A3B6E1E6}" dt="2024-03-19T01:11:00.458" v="4864" actId="478"/>
          <ac:spMkLst>
            <pc:docMk/>
            <pc:sldMk cId="4081603858" sldId="263"/>
            <ac:spMk id="2" creationId="{54E84D94-1D25-808F-33E3-7BB65D1222CE}"/>
          </ac:spMkLst>
        </pc:spChg>
        <pc:spChg chg="mod">
          <ac:chgData name="Daniel Cole" userId="f20a75f9320a1647" providerId="LiveId" clId="{42D3E951-AF5C-4164-98AB-2347A3B6E1E6}" dt="2024-03-21T19:09:34.518" v="18838" actId="20577"/>
          <ac:spMkLst>
            <pc:docMk/>
            <pc:sldMk cId="4081603858" sldId="263"/>
            <ac:spMk id="5" creationId="{C0468C2B-2B0D-489F-945D-E78C22E53FD2}"/>
          </ac:spMkLst>
        </pc:spChg>
        <pc:spChg chg="mod">
          <ac:chgData name="Daniel Cole" userId="f20a75f9320a1647" providerId="LiveId" clId="{42D3E951-AF5C-4164-98AB-2347A3B6E1E6}" dt="2024-03-19T01:08:59.159" v="4863" actId="1076"/>
          <ac:spMkLst>
            <pc:docMk/>
            <pc:sldMk cId="4081603858" sldId="263"/>
            <ac:spMk id="8" creationId="{39446107-B90F-DDC0-5012-FB07DDDAFAA3}"/>
          </ac:spMkLst>
        </pc:spChg>
        <pc:spChg chg="mod">
          <ac:chgData name="Daniel Cole" userId="f20a75f9320a1647" providerId="LiveId" clId="{42D3E951-AF5C-4164-98AB-2347A3B6E1E6}" dt="2024-03-21T13:18:46.229" v="12796" actId="20577"/>
          <ac:spMkLst>
            <pc:docMk/>
            <pc:sldMk cId="4081603858" sldId="263"/>
            <ac:spMk id="11" creationId="{C2057850-1618-D882-7F94-5F1EB0E3A049}"/>
          </ac:spMkLst>
        </pc:spChg>
        <pc:spChg chg="add del mod">
          <ac:chgData name="Daniel Cole" userId="f20a75f9320a1647" providerId="LiveId" clId="{42D3E951-AF5C-4164-98AB-2347A3B6E1E6}" dt="2024-03-21T19:31:47.305" v="19286" actId="478"/>
          <ac:spMkLst>
            <pc:docMk/>
            <pc:sldMk cId="4081603858" sldId="263"/>
            <ac:spMk id="12" creationId="{4D3CA8CE-2056-85EE-486A-8C309608ACE4}"/>
          </ac:spMkLst>
        </pc:spChg>
        <pc:spChg chg="add del mod">
          <ac:chgData name="Daniel Cole" userId="f20a75f9320a1647" providerId="LiveId" clId="{42D3E951-AF5C-4164-98AB-2347A3B6E1E6}" dt="2024-03-21T19:31:47.305" v="19286" actId="478"/>
          <ac:spMkLst>
            <pc:docMk/>
            <pc:sldMk cId="4081603858" sldId="263"/>
            <ac:spMk id="13" creationId="{0F9F2A7D-66F5-517B-EB73-9D183F72ECAB}"/>
          </ac:spMkLst>
        </pc:spChg>
        <pc:spChg chg="mod">
          <ac:chgData name="Daniel Cole" userId="f20a75f9320a1647" providerId="LiveId" clId="{42D3E951-AF5C-4164-98AB-2347A3B6E1E6}" dt="2024-03-21T12:15:21.628" v="11198" actId="1037"/>
          <ac:spMkLst>
            <pc:docMk/>
            <pc:sldMk cId="4081603858" sldId="263"/>
            <ac:spMk id="14" creationId="{DBB0A22C-636F-07AD-72D1-C6D9BA0E3351}"/>
          </ac:spMkLst>
        </pc:spChg>
        <pc:spChg chg="add 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14" creationId="{DEEC19D8-09FB-3B4F-F257-27AD8D17D269}"/>
          </ac:spMkLst>
        </pc:spChg>
        <pc:spChg chg="add mod">
          <ac:chgData name="Daniel Cole" userId="f20a75f9320a1647" providerId="LiveId" clId="{42D3E951-AF5C-4164-98AB-2347A3B6E1E6}" dt="2024-03-19T01:08:59.159" v="4863" actId="1076"/>
          <ac:spMkLst>
            <pc:docMk/>
            <pc:sldMk cId="4081603858" sldId="263"/>
            <ac:spMk id="16" creationId="{C6AF5C76-891F-6C3C-181A-5C7F39F0F39E}"/>
          </ac:spMkLst>
        </pc:spChg>
        <pc:spChg chg="add del mod">
          <ac:chgData name="Daniel Cole" userId="f20a75f9320a1647" providerId="LiveId" clId="{42D3E951-AF5C-4164-98AB-2347A3B6E1E6}" dt="2024-03-21T19:43:29.661" v="19345" actId="478"/>
          <ac:spMkLst>
            <pc:docMk/>
            <pc:sldMk cId="4081603858" sldId="263"/>
            <ac:spMk id="17" creationId="{A32291C7-5ED5-75E2-018B-D7072DBD7DF7}"/>
          </ac:spMkLst>
        </pc:spChg>
        <pc:spChg chg="add del mod">
          <ac:chgData name="Daniel Cole" userId="f20a75f9320a1647" providerId="LiveId" clId="{42D3E951-AF5C-4164-98AB-2347A3B6E1E6}" dt="2024-03-21T19:43:29.661" v="19345" actId="478"/>
          <ac:spMkLst>
            <pc:docMk/>
            <pc:sldMk cId="4081603858" sldId="263"/>
            <ac:spMk id="18" creationId="{FB8D6AF2-B608-C346-C3C7-5F4BE9BA1514}"/>
          </ac:spMkLst>
        </pc:spChg>
        <pc:spChg chg="add del mod">
          <ac:chgData name="Daniel Cole" userId="f20a75f9320a1647" providerId="LiveId" clId="{42D3E951-AF5C-4164-98AB-2347A3B6E1E6}" dt="2024-03-21T19:43:29.661" v="19345" actId="478"/>
          <ac:spMkLst>
            <pc:docMk/>
            <pc:sldMk cId="4081603858" sldId="263"/>
            <ac:spMk id="19" creationId="{51121C87-A51A-D1E5-2331-81F55141D79C}"/>
          </ac:spMkLst>
        </pc:spChg>
        <pc:spChg chg="add mod">
          <ac:chgData name="Daniel Cole" userId="f20a75f9320a1647" providerId="LiveId" clId="{42D3E951-AF5C-4164-98AB-2347A3B6E1E6}" dt="2024-03-19T01:08:59.159" v="4863" actId="1076"/>
          <ac:spMkLst>
            <pc:docMk/>
            <pc:sldMk cId="4081603858" sldId="263"/>
            <ac:spMk id="20" creationId="{EFE2F8D7-497D-A9F0-05BA-E89C33E490A9}"/>
          </ac:spMkLst>
        </pc:spChg>
        <pc:spChg chg="add del mod">
          <ac:chgData name="Daniel Cole" userId="f20a75f9320a1647" providerId="LiveId" clId="{42D3E951-AF5C-4164-98AB-2347A3B6E1E6}" dt="2024-03-21T19:43:29.661" v="19345" actId="478"/>
          <ac:spMkLst>
            <pc:docMk/>
            <pc:sldMk cId="4081603858" sldId="263"/>
            <ac:spMk id="21" creationId="{2E301770-C394-CADB-8269-EF9A401338DE}"/>
          </ac:spMkLst>
        </pc:spChg>
        <pc:spChg chg="add del mod">
          <ac:chgData name="Daniel Cole" userId="f20a75f9320a1647" providerId="LiveId" clId="{42D3E951-AF5C-4164-98AB-2347A3B6E1E6}" dt="2024-03-21T19:43:29.661" v="19345" actId="478"/>
          <ac:spMkLst>
            <pc:docMk/>
            <pc:sldMk cId="4081603858" sldId="263"/>
            <ac:spMk id="22" creationId="{7851C8CB-FA09-FCD3-635B-61E3EA2321A4}"/>
          </ac:spMkLst>
        </pc:spChg>
        <pc:spChg chg="add mod">
          <ac:chgData name="Daniel Cole" userId="f20a75f9320a1647" providerId="LiveId" clId="{42D3E951-AF5C-4164-98AB-2347A3B6E1E6}" dt="2024-03-19T01:08:59.159" v="4863" actId="1076"/>
          <ac:spMkLst>
            <pc:docMk/>
            <pc:sldMk cId="4081603858" sldId="263"/>
            <ac:spMk id="23" creationId="{5043CFF4-4F54-3921-AF31-D18981FE5FBD}"/>
          </ac:spMkLst>
        </pc:spChg>
        <pc:spChg chg="add mod">
          <ac:chgData name="Daniel Cole" userId="f20a75f9320a1647" providerId="LiveId" clId="{42D3E951-AF5C-4164-98AB-2347A3B6E1E6}" dt="2024-03-19T01:08:59.159" v="4863" actId="1076"/>
          <ac:spMkLst>
            <pc:docMk/>
            <pc:sldMk cId="4081603858" sldId="263"/>
            <ac:spMk id="24" creationId="{C86C380B-5A0C-2601-0C58-587CCD422195}"/>
          </ac:spMkLst>
        </pc:spChg>
        <pc:spChg chg="add mod">
          <ac:chgData name="Daniel Cole" userId="f20a75f9320a1647" providerId="LiveId" clId="{42D3E951-AF5C-4164-98AB-2347A3B6E1E6}" dt="2024-03-19T01:08:59.159" v="4863" actId="1076"/>
          <ac:spMkLst>
            <pc:docMk/>
            <pc:sldMk cId="4081603858" sldId="263"/>
            <ac:spMk id="25" creationId="{B0FE372C-128F-3A34-D80B-170E9A4C2E7E}"/>
          </ac:spMkLst>
        </pc:spChg>
        <pc:spChg chg="add del mod">
          <ac:chgData name="Daniel Cole" userId="f20a75f9320a1647" providerId="LiveId" clId="{42D3E951-AF5C-4164-98AB-2347A3B6E1E6}" dt="2024-03-21T19:43:29.661" v="19345" actId="478"/>
          <ac:spMkLst>
            <pc:docMk/>
            <pc:sldMk cId="4081603858" sldId="263"/>
            <ac:spMk id="26" creationId="{045F78D6-8E34-A985-A22B-75461A8BF914}"/>
          </ac:spMkLst>
        </pc:spChg>
        <pc:spChg chg="add del mod">
          <ac:chgData name="Daniel Cole" userId="f20a75f9320a1647" providerId="LiveId" clId="{42D3E951-AF5C-4164-98AB-2347A3B6E1E6}" dt="2024-03-21T19:43:29.661" v="19345" actId="478"/>
          <ac:spMkLst>
            <pc:docMk/>
            <pc:sldMk cId="4081603858" sldId="263"/>
            <ac:spMk id="27" creationId="{357F06A2-7F81-AC01-7996-CB9EDB778E81}"/>
          </ac:spMkLst>
        </pc:spChg>
        <pc:spChg chg="add del mod">
          <ac:chgData name="Daniel Cole" userId="f20a75f9320a1647" providerId="LiveId" clId="{42D3E951-AF5C-4164-98AB-2347A3B6E1E6}" dt="2024-03-21T19:43:29.661" v="19345" actId="478"/>
          <ac:spMkLst>
            <pc:docMk/>
            <pc:sldMk cId="4081603858" sldId="263"/>
            <ac:spMk id="28" creationId="{2CC99DF5-7F9D-7E03-B7EE-64D2144BC84F}"/>
          </ac:spMkLst>
        </pc:spChg>
        <pc:spChg chg="add del mod">
          <ac:chgData name="Daniel Cole" userId="f20a75f9320a1647" providerId="LiveId" clId="{42D3E951-AF5C-4164-98AB-2347A3B6E1E6}" dt="2024-03-21T19:43:29.661" v="19345" actId="478"/>
          <ac:spMkLst>
            <pc:docMk/>
            <pc:sldMk cId="4081603858" sldId="263"/>
            <ac:spMk id="29" creationId="{1A7E7B71-673B-F6E0-C57F-A794D02BF245}"/>
          </ac:spMkLst>
        </pc:spChg>
        <pc:spChg chg="add del mod">
          <ac:chgData name="Daniel Cole" userId="f20a75f9320a1647" providerId="LiveId" clId="{42D3E951-AF5C-4164-98AB-2347A3B6E1E6}" dt="2024-03-21T19:43:29.661" v="19345" actId="478"/>
          <ac:spMkLst>
            <pc:docMk/>
            <pc:sldMk cId="4081603858" sldId="263"/>
            <ac:spMk id="30" creationId="{AAE70A66-6A34-76CD-4D2F-70213FDE1DB4}"/>
          </ac:spMkLst>
        </pc:spChg>
        <pc:spChg chg="add 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31" creationId="{E02A77DE-5212-BD34-55DA-BBC7F78D8DEA}"/>
          </ac:spMkLst>
        </pc:spChg>
        <pc:spChg chg="mod">
          <ac:chgData name="Daniel Cole" userId="f20a75f9320a1647" providerId="LiveId" clId="{42D3E951-AF5C-4164-98AB-2347A3B6E1E6}" dt="2024-03-21T12:15:21.628" v="11198" actId="1037"/>
          <ac:spMkLst>
            <pc:docMk/>
            <pc:sldMk cId="4081603858" sldId="263"/>
            <ac:spMk id="32" creationId="{B12C4598-2CA0-9E0D-C063-DB48E7E7E79E}"/>
          </ac:spMkLst>
        </pc:spChg>
        <pc:spChg chg="mod">
          <ac:chgData name="Daniel Cole" userId="f20a75f9320a1647" providerId="LiveId" clId="{42D3E951-AF5C-4164-98AB-2347A3B6E1E6}" dt="2024-03-21T12:15:21.628" v="11198" actId="1037"/>
          <ac:spMkLst>
            <pc:docMk/>
            <pc:sldMk cId="4081603858" sldId="263"/>
            <ac:spMk id="33" creationId="{27845817-81EE-BEEE-88FF-3AE838BC5EEC}"/>
          </ac:spMkLst>
        </pc:spChg>
        <pc:spChg chg="add 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33" creationId="{96A6057F-90BD-DF47-765B-6E620C925F0A}"/>
          </ac:spMkLst>
        </pc:spChg>
        <pc:spChg chg="mod">
          <ac:chgData name="Daniel Cole" userId="f20a75f9320a1647" providerId="LiveId" clId="{42D3E951-AF5C-4164-98AB-2347A3B6E1E6}" dt="2024-03-21T12:15:21.628" v="11198" actId="1037"/>
          <ac:spMkLst>
            <pc:docMk/>
            <pc:sldMk cId="4081603858" sldId="263"/>
            <ac:spMk id="35" creationId="{B69CA39C-3000-BE10-9D6B-676A5CBDBA80}"/>
          </ac:spMkLst>
        </pc:spChg>
        <pc:spChg chg="mod">
          <ac:chgData name="Daniel Cole" userId="f20a75f9320a1647" providerId="LiveId" clId="{42D3E951-AF5C-4164-98AB-2347A3B6E1E6}" dt="2024-03-21T12:15:21.628" v="11198" actId="1037"/>
          <ac:spMkLst>
            <pc:docMk/>
            <pc:sldMk cId="4081603858" sldId="263"/>
            <ac:spMk id="36" creationId="{648BC8AF-F4DD-694B-AEA3-748C0545696F}"/>
          </ac:spMkLst>
        </pc:spChg>
        <pc:spChg chg="mod">
          <ac:chgData name="Daniel Cole" userId="f20a75f9320a1647" providerId="LiveId" clId="{42D3E951-AF5C-4164-98AB-2347A3B6E1E6}" dt="2024-03-21T12:15:21.628" v="11198" actId="1037"/>
          <ac:spMkLst>
            <pc:docMk/>
            <pc:sldMk cId="4081603858" sldId="263"/>
            <ac:spMk id="38" creationId="{03B8A17D-AEFC-6C51-EB73-8A31C4372077}"/>
          </ac:spMkLst>
        </pc:spChg>
        <pc:spChg chg="mod">
          <ac:chgData name="Daniel Cole" userId="f20a75f9320a1647" providerId="LiveId" clId="{42D3E951-AF5C-4164-98AB-2347A3B6E1E6}" dt="2024-03-21T12:15:21.628" v="11198" actId="1037"/>
          <ac:spMkLst>
            <pc:docMk/>
            <pc:sldMk cId="4081603858" sldId="263"/>
            <ac:spMk id="39" creationId="{B622C937-DBA3-583E-90FB-316A1D64A525}"/>
          </ac:spMkLst>
        </pc:spChg>
        <pc:spChg chg="mod">
          <ac:chgData name="Daniel Cole" userId="f20a75f9320a1647" providerId="LiveId" clId="{42D3E951-AF5C-4164-98AB-2347A3B6E1E6}" dt="2024-03-21T12:15:21.628" v="11198" actId="1037"/>
          <ac:spMkLst>
            <pc:docMk/>
            <pc:sldMk cId="4081603858" sldId="263"/>
            <ac:spMk id="41" creationId="{8E489C9C-0375-91E1-9616-5C572E4D6142}"/>
          </ac:spMkLst>
        </pc:spChg>
        <pc:spChg chg="mod">
          <ac:chgData name="Daniel Cole" userId="f20a75f9320a1647" providerId="LiveId" clId="{42D3E951-AF5C-4164-98AB-2347A3B6E1E6}" dt="2024-03-21T12:15:21.628" v="11198" actId="1037"/>
          <ac:spMkLst>
            <pc:docMk/>
            <pc:sldMk cId="4081603858" sldId="263"/>
            <ac:spMk id="42" creationId="{027BA4F5-1949-2DC9-0535-948485BA17AE}"/>
          </ac:spMkLst>
        </pc:spChg>
        <pc:spChg chg="add 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43" creationId="{0C55D180-F7AE-E945-C87D-C30B4A6471BE}"/>
          </ac:spMkLst>
        </pc:spChg>
        <pc:spChg chg="mod">
          <ac:chgData name="Daniel Cole" userId="f20a75f9320a1647" providerId="LiveId" clId="{42D3E951-AF5C-4164-98AB-2347A3B6E1E6}" dt="2024-03-21T12:15:21.628" v="11198" actId="1037"/>
          <ac:spMkLst>
            <pc:docMk/>
            <pc:sldMk cId="4081603858" sldId="263"/>
            <ac:spMk id="44" creationId="{11CCBC4E-16E4-9897-BC3E-84CF75B6CCE0}"/>
          </ac:spMkLst>
        </pc:spChg>
        <pc:spChg chg="add 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44" creationId="{F7F7CF66-18BB-C8C3-5AE8-143016729409}"/>
          </ac:spMkLst>
        </pc:spChg>
        <pc:spChg chg="mod">
          <ac:chgData name="Daniel Cole" userId="f20a75f9320a1647" providerId="LiveId" clId="{42D3E951-AF5C-4164-98AB-2347A3B6E1E6}" dt="2024-03-21T12:15:21.628" v="11198" actId="1037"/>
          <ac:spMkLst>
            <pc:docMk/>
            <pc:sldMk cId="4081603858" sldId="263"/>
            <ac:spMk id="45" creationId="{71D0D97C-017E-2FB1-CAA6-40E4E3D8CF31}"/>
          </ac:spMkLst>
        </pc:spChg>
        <pc:spChg chg="add 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45" creationId="{7E90D042-2C11-85EB-1038-E95C5344A4D8}"/>
          </ac:spMkLst>
        </pc:spChg>
        <pc:spChg chg="add 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46" creationId="{2A0B9263-32E8-8519-E623-676C602A6790}"/>
          </ac:spMkLst>
        </pc:spChg>
        <pc:spChg chg="add 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47" creationId="{97AF3DF5-909C-D330-6BD1-596FD9BAA408}"/>
          </ac:spMkLst>
        </pc:spChg>
        <pc:spChg chg="add 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48" creationId="{F3C83D65-DA5C-FBAD-A2AB-24DFB0BE3A59}"/>
          </ac:spMkLst>
        </pc:spChg>
        <pc:spChg chg="add del mod">
          <ac:chgData name="Daniel Cole" userId="f20a75f9320a1647" providerId="LiveId" clId="{42D3E951-AF5C-4164-98AB-2347A3B6E1E6}" dt="2024-03-21T13:01:19.968" v="12182" actId="478"/>
          <ac:spMkLst>
            <pc:docMk/>
            <pc:sldMk cId="4081603858" sldId="263"/>
            <ac:spMk id="49" creationId="{72884519-CBC8-1DF5-2AF8-70748F9B781D}"/>
          </ac:spMkLst>
        </pc:spChg>
        <pc:spChg chg="add 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49" creationId="{C2FE9B4C-48A5-1664-4461-929007AF9DCC}"/>
          </ac:spMkLst>
        </pc:spChg>
        <pc:spChg chg="add mod">
          <ac:chgData name="Daniel Cole" userId="f20a75f9320a1647" providerId="LiveId" clId="{42D3E951-AF5C-4164-98AB-2347A3B6E1E6}" dt="2024-03-21T19:33:44.637" v="19322" actId="404"/>
          <ac:spMkLst>
            <pc:docMk/>
            <pc:sldMk cId="4081603858" sldId="263"/>
            <ac:spMk id="55" creationId="{3DC74743-DC50-A487-7F3E-274BE0538FB2}"/>
          </ac:spMkLst>
        </pc:spChg>
        <pc:spChg chg="mod">
          <ac:chgData name="Daniel Cole" userId="f20a75f9320a1647" providerId="LiveId" clId="{42D3E951-AF5C-4164-98AB-2347A3B6E1E6}" dt="2024-03-21T13:11:23.207" v="12793" actId="1037"/>
          <ac:spMkLst>
            <pc:docMk/>
            <pc:sldMk cId="4081603858" sldId="263"/>
            <ac:spMk id="57" creationId="{5A4BDE39-308B-7A50-A28B-7FD3850A1D5B}"/>
          </ac:spMkLst>
        </pc:spChg>
        <pc:spChg chg="add del mod">
          <ac:chgData name="Daniel Cole" userId="f20a75f9320a1647" providerId="LiveId" clId="{42D3E951-AF5C-4164-98AB-2347A3B6E1E6}" dt="2024-03-21T19:43:29.661" v="19345" actId="478"/>
          <ac:spMkLst>
            <pc:docMk/>
            <pc:sldMk cId="4081603858" sldId="263"/>
            <ac:spMk id="58" creationId="{44B1E682-42C1-491B-EA28-A6FE133B24EF}"/>
          </ac:spMkLst>
        </pc:spChg>
        <pc:spChg chg="add del mod">
          <ac:chgData name="Daniel Cole" userId="f20a75f9320a1647" providerId="LiveId" clId="{42D3E951-AF5C-4164-98AB-2347A3B6E1E6}" dt="2024-03-21T19:43:29.661" v="19345" actId="478"/>
          <ac:spMkLst>
            <pc:docMk/>
            <pc:sldMk cId="4081603858" sldId="263"/>
            <ac:spMk id="59" creationId="{BCC59DBA-60F0-4C43-E9B5-6D81255C1B64}"/>
          </ac:spMkLst>
        </pc:spChg>
        <pc:spChg chg="add del mod">
          <ac:chgData name="Daniel Cole" userId="f20a75f9320a1647" providerId="LiveId" clId="{42D3E951-AF5C-4164-98AB-2347A3B6E1E6}" dt="2024-03-21T19:43:29.661" v="19345" actId="478"/>
          <ac:spMkLst>
            <pc:docMk/>
            <pc:sldMk cId="4081603858" sldId="263"/>
            <ac:spMk id="60" creationId="{42DBACAB-4CB3-D227-5B5D-EA0759C4A6CD}"/>
          </ac:spMkLst>
        </pc:spChg>
        <pc:spChg chg="add del mod">
          <ac:chgData name="Daniel Cole" userId="f20a75f9320a1647" providerId="LiveId" clId="{42D3E951-AF5C-4164-98AB-2347A3B6E1E6}" dt="2024-03-21T19:43:29.661" v="19345" actId="478"/>
          <ac:spMkLst>
            <pc:docMk/>
            <pc:sldMk cId="4081603858" sldId="263"/>
            <ac:spMk id="61" creationId="{3E3A5EE1-BE52-3667-C5D7-7E1F7F1B4789}"/>
          </ac:spMkLst>
        </pc:spChg>
        <pc:spChg chg="add del mod">
          <ac:chgData name="Daniel Cole" userId="f20a75f9320a1647" providerId="LiveId" clId="{42D3E951-AF5C-4164-98AB-2347A3B6E1E6}" dt="2024-03-21T19:43:29.661" v="19345" actId="478"/>
          <ac:spMkLst>
            <pc:docMk/>
            <pc:sldMk cId="4081603858" sldId="263"/>
            <ac:spMk id="62" creationId="{F0E82F50-4957-B6FB-578B-CC9870A47114}"/>
          </ac:spMkLst>
        </pc:spChg>
        <pc:spChg chg="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64" creationId="{3989A633-DA02-EBAF-EEA7-50E5965414BF}"/>
          </ac:spMkLst>
        </pc:spChg>
        <pc:spChg chg="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65" creationId="{E2DBE985-EFE8-83F3-ADD4-1EED1C0B3351}"/>
          </ac:spMkLst>
        </pc:spChg>
        <pc:spChg chg="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66" creationId="{AF4A8A33-F6AD-00D9-3B78-5B9E66FA6A12}"/>
          </ac:spMkLst>
        </pc:spChg>
        <pc:spChg chg="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67" creationId="{A0FE5854-FD1C-611D-093E-90EEBC71C12A}"/>
          </ac:spMkLst>
        </pc:spChg>
        <pc:spChg chg="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68" creationId="{88E336EF-71B9-392D-53C9-54CD9DC04BA4}"/>
          </ac:spMkLst>
        </pc:spChg>
        <pc:spChg chg="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69" creationId="{9DA6E0A8-6DB8-AE75-4A6A-8AF00E8795E9}"/>
          </ac:spMkLst>
        </pc:spChg>
        <pc:spChg chg="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70" creationId="{254CE66D-3D94-AF58-41DC-B4B67C64B682}"/>
          </ac:spMkLst>
        </pc:spChg>
        <pc:spChg chg="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71" creationId="{D56D53AA-462B-7FFD-D81F-BAE87E2D07F5}"/>
          </ac:spMkLst>
        </pc:spChg>
        <pc:spChg chg="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72" creationId="{76802C55-B1FC-89ED-4732-1C6551B623CF}"/>
          </ac:spMkLst>
        </pc:spChg>
        <pc:spChg chg="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74" creationId="{8919DCEF-5DD2-6508-4FC8-9D9306AAA11A}"/>
          </ac:spMkLst>
        </pc:spChg>
        <pc:spChg chg="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75" creationId="{BC894901-A716-38FF-4136-2210C92B7DBF}"/>
          </ac:spMkLst>
        </pc:spChg>
        <pc:spChg chg="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76" creationId="{F9300379-78A2-6B9F-A65D-1534D86377C3}"/>
          </ac:spMkLst>
        </pc:spChg>
        <pc:spChg chg="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77" creationId="{4CD47E53-894A-1B00-9616-5F8261C394BE}"/>
          </ac:spMkLst>
        </pc:spChg>
        <pc:spChg chg="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79" creationId="{3D8BDC45-98AC-8AD9-3D71-0C123D8EFFA8}"/>
          </ac:spMkLst>
        </pc:spChg>
        <pc:spChg chg="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80" creationId="{2A8B751B-DBC8-FEB9-3458-DC00223549B1}"/>
          </ac:spMkLst>
        </pc:spChg>
        <pc:spChg chg="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81" creationId="{7232B46E-897A-9BBA-39A6-A2CBCD7C2F1D}"/>
          </ac:spMkLst>
        </pc:spChg>
        <pc:spChg chg="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82" creationId="{5667ABB1-B36D-E474-2940-85F1242FC2CB}"/>
          </ac:spMkLst>
        </pc:spChg>
        <pc:spChg chg="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83" creationId="{16152C7E-8FB8-990A-D739-C82F0E40F0A2}"/>
          </ac:spMkLst>
        </pc:spChg>
        <pc:spChg chg="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84" creationId="{57218CB7-025D-3FF2-79E8-B559A18E2ECF}"/>
          </ac:spMkLst>
        </pc:spChg>
        <pc:spChg chg="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86" creationId="{3AA55215-0BFB-4CD3-86D1-03EF5F145073}"/>
          </ac:spMkLst>
        </pc:spChg>
        <pc:spChg chg="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87" creationId="{8154A923-583C-5362-C5D9-066E1DB28B45}"/>
          </ac:spMkLst>
        </pc:spChg>
        <pc:spChg chg="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88" creationId="{B9028B89-02B6-76F8-F905-E9D7739A4CD4}"/>
          </ac:spMkLst>
        </pc:spChg>
        <pc:spChg chg="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89" creationId="{F87A32FC-516A-B65F-366D-EA9F9E29D8C0}"/>
          </ac:spMkLst>
        </pc:spChg>
        <pc:spChg chg="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90" creationId="{9CEDF56F-6248-4816-FB28-B3EBD9A11A52}"/>
          </ac:spMkLst>
        </pc:spChg>
        <pc:spChg chg="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91" creationId="{A09E3008-2F82-2C2A-D9DE-0794EB44D231}"/>
          </ac:spMkLst>
        </pc:spChg>
        <pc:spChg chg="add 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92" creationId="{979416A2-B081-8F49-CD45-DF835CFD8425}"/>
          </ac:spMkLst>
        </pc:spChg>
        <pc:spChg chg="add mod">
          <ac:chgData name="Daniel Cole" userId="f20a75f9320a1647" providerId="LiveId" clId="{42D3E951-AF5C-4164-98AB-2347A3B6E1E6}" dt="2024-03-21T19:43:21.729" v="19343" actId="14100"/>
          <ac:spMkLst>
            <pc:docMk/>
            <pc:sldMk cId="4081603858" sldId="263"/>
            <ac:spMk id="93" creationId="{7204C804-3A6C-9D35-5CE8-45F862E74B1A}"/>
          </ac:spMkLst>
        </pc:spChg>
        <pc:spChg chg="add mod">
          <ac:chgData name="Daniel Cole" userId="f20a75f9320a1647" providerId="LiveId" clId="{42D3E951-AF5C-4164-98AB-2347A3B6E1E6}" dt="2024-03-21T19:45:54.994" v="19374" actId="1076"/>
          <ac:spMkLst>
            <pc:docMk/>
            <pc:sldMk cId="4081603858" sldId="263"/>
            <ac:spMk id="94" creationId="{6A1BFE8F-FDE7-5E4F-4F14-5AA1FC70C634}"/>
          </ac:spMkLst>
        </pc:spChg>
        <pc:spChg chg="add mod">
          <ac:chgData name="Daniel Cole" userId="f20a75f9320a1647" providerId="LiveId" clId="{42D3E951-AF5C-4164-98AB-2347A3B6E1E6}" dt="2024-03-21T19:45:54.994" v="19374" actId="1076"/>
          <ac:spMkLst>
            <pc:docMk/>
            <pc:sldMk cId="4081603858" sldId="263"/>
            <ac:spMk id="95" creationId="{A59F401C-BB73-DAD0-F24D-929CC40FC67C}"/>
          </ac:spMkLst>
        </pc:spChg>
        <pc:spChg chg="add del mod">
          <ac:chgData name="Daniel Cole" userId="f20a75f9320a1647" providerId="LiveId" clId="{42D3E951-AF5C-4164-98AB-2347A3B6E1E6}" dt="2024-03-21T19:44:24.939" v="19353" actId="478"/>
          <ac:spMkLst>
            <pc:docMk/>
            <pc:sldMk cId="4081603858" sldId="263"/>
            <ac:spMk id="97" creationId="{C201AB0C-7EF2-A60D-8E83-5873DFAABDBD}"/>
          </ac:spMkLst>
        </pc:spChg>
        <pc:spChg chg="add mod ord">
          <ac:chgData name="Daniel Cole" userId="f20a75f9320a1647" providerId="LiveId" clId="{42D3E951-AF5C-4164-98AB-2347A3B6E1E6}" dt="2024-03-21T19:48:19.176" v="19410" actId="167"/>
          <ac:spMkLst>
            <pc:docMk/>
            <pc:sldMk cId="4081603858" sldId="263"/>
            <ac:spMk id="107" creationId="{09586223-766B-3C01-5570-60690FFCCCE9}"/>
          </ac:spMkLst>
        </pc:spChg>
        <pc:spChg chg="add mod">
          <ac:chgData name="Daniel Cole" userId="f20a75f9320a1647" providerId="LiveId" clId="{42D3E951-AF5C-4164-98AB-2347A3B6E1E6}" dt="2024-03-21T19:47:51.653" v="19408" actId="208"/>
          <ac:spMkLst>
            <pc:docMk/>
            <pc:sldMk cId="4081603858" sldId="263"/>
            <ac:spMk id="108" creationId="{0C5EE0D5-D71C-C4F9-2AB2-9227636A778B}"/>
          </ac:spMkLst>
        </pc:spChg>
        <pc:spChg chg="add mod">
          <ac:chgData name="Daniel Cole" userId="f20a75f9320a1647" providerId="LiveId" clId="{42D3E951-AF5C-4164-98AB-2347A3B6E1E6}" dt="2024-03-21T19:47:51.653" v="19408" actId="208"/>
          <ac:spMkLst>
            <pc:docMk/>
            <pc:sldMk cId="4081603858" sldId="263"/>
            <ac:spMk id="109" creationId="{ADBEE7DF-44AD-E099-C797-DE196D6902BD}"/>
          </ac:spMkLst>
        </pc:spChg>
        <pc:spChg chg="add mod">
          <ac:chgData name="Daniel Cole" userId="f20a75f9320a1647" providerId="LiveId" clId="{42D3E951-AF5C-4164-98AB-2347A3B6E1E6}" dt="2024-03-21T19:47:51.653" v="19408" actId="208"/>
          <ac:spMkLst>
            <pc:docMk/>
            <pc:sldMk cId="4081603858" sldId="263"/>
            <ac:spMk id="110" creationId="{D745CD53-F696-10DE-7CF0-B2C7382312E2}"/>
          </ac:spMkLst>
        </pc:spChg>
        <pc:spChg chg="add mod">
          <ac:chgData name="Daniel Cole" userId="f20a75f9320a1647" providerId="LiveId" clId="{42D3E951-AF5C-4164-98AB-2347A3B6E1E6}" dt="2024-03-21T19:47:51.653" v="19408" actId="208"/>
          <ac:spMkLst>
            <pc:docMk/>
            <pc:sldMk cId="4081603858" sldId="263"/>
            <ac:spMk id="111" creationId="{1118AD8B-2A50-7D3A-B2FB-7A04E0946DD2}"/>
          </ac:spMkLst>
        </pc:spChg>
        <pc:spChg chg="add mod">
          <ac:chgData name="Daniel Cole" userId="f20a75f9320a1647" providerId="LiveId" clId="{42D3E951-AF5C-4164-98AB-2347A3B6E1E6}" dt="2024-03-21T19:47:20.461" v="19406" actId="1038"/>
          <ac:spMkLst>
            <pc:docMk/>
            <pc:sldMk cId="4081603858" sldId="263"/>
            <ac:spMk id="112" creationId="{1362E821-861F-D10C-B32A-15563731DEDF}"/>
          </ac:spMkLst>
        </pc:spChg>
        <pc:spChg chg="add mod">
          <ac:chgData name="Daniel Cole" userId="f20a75f9320a1647" providerId="LiveId" clId="{42D3E951-AF5C-4164-98AB-2347A3B6E1E6}" dt="2024-03-21T19:46:03.172" v="19375" actId="1076"/>
          <ac:spMkLst>
            <pc:docMk/>
            <pc:sldMk cId="4081603858" sldId="263"/>
            <ac:spMk id="113" creationId="{AAAA22D0-F2D5-D897-920D-ADC1B00B15D9}"/>
          </ac:spMkLst>
        </pc:spChg>
        <pc:spChg chg="mod">
          <ac:chgData name="Daniel Cole" userId="f20a75f9320a1647" providerId="LiveId" clId="{42D3E951-AF5C-4164-98AB-2347A3B6E1E6}" dt="2024-03-21T19:45:54.994" v="19374" actId="1076"/>
          <ac:spMkLst>
            <pc:docMk/>
            <pc:sldMk cId="4081603858" sldId="263"/>
            <ac:spMk id="115" creationId="{D25DD614-90C2-6849-16C4-23250CBBCBE7}"/>
          </ac:spMkLst>
        </pc:spChg>
        <pc:spChg chg="mod">
          <ac:chgData name="Daniel Cole" userId="f20a75f9320a1647" providerId="LiveId" clId="{42D3E951-AF5C-4164-98AB-2347A3B6E1E6}" dt="2024-03-21T19:45:54.994" v="19374" actId="1076"/>
          <ac:spMkLst>
            <pc:docMk/>
            <pc:sldMk cId="4081603858" sldId="263"/>
            <ac:spMk id="116" creationId="{6EBC0C09-3E7A-F1A5-8A80-2AA0559D41F7}"/>
          </ac:spMkLst>
        </pc:spChg>
        <pc:spChg chg="mod">
          <ac:chgData name="Daniel Cole" userId="f20a75f9320a1647" providerId="LiveId" clId="{42D3E951-AF5C-4164-98AB-2347A3B6E1E6}" dt="2024-03-21T19:45:54.994" v="19374" actId="1076"/>
          <ac:spMkLst>
            <pc:docMk/>
            <pc:sldMk cId="4081603858" sldId="263"/>
            <ac:spMk id="117" creationId="{A0CABEB1-0301-21F1-8A9C-6C451CC5CD35}"/>
          </ac:spMkLst>
        </pc:spChg>
        <pc:spChg chg="mod">
          <ac:chgData name="Daniel Cole" userId="f20a75f9320a1647" providerId="LiveId" clId="{42D3E951-AF5C-4164-98AB-2347A3B6E1E6}" dt="2024-03-21T19:45:54.994" v="19374" actId="1076"/>
          <ac:spMkLst>
            <pc:docMk/>
            <pc:sldMk cId="4081603858" sldId="263"/>
            <ac:spMk id="118" creationId="{85C9B7B3-2BEB-A7C5-2161-F1404198CEBD}"/>
          </ac:spMkLst>
        </pc:spChg>
        <pc:spChg chg="mod">
          <ac:chgData name="Daniel Cole" userId="f20a75f9320a1647" providerId="LiveId" clId="{42D3E951-AF5C-4164-98AB-2347A3B6E1E6}" dt="2024-03-21T19:45:54.994" v="19374" actId="1076"/>
          <ac:spMkLst>
            <pc:docMk/>
            <pc:sldMk cId="4081603858" sldId="263"/>
            <ac:spMk id="119" creationId="{294670BC-A33A-289B-34B1-729F67618660}"/>
          </ac:spMkLst>
        </pc:spChg>
        <pc:spChg chg="mod">
          <ac:chgData name="Daniel Cole" userId="f20a75f9320a1647" providerId="LiveId" clId="{42D3E951-AF5C-4164-98AB-2347A3B6E1E6}" dt="2024-03-21T19:45:54.994" v="19374" actId="1076"/>
          <ac:spMkLst>
            <pc:docMk/>
            <pc:sldMk cId="4081603858" sldId="263"/>
            <ac:spMk id="120" creationId="{D7D4A84E-DA50-717A-C45F-261486EFB1E6}"/>
          </ac:spMkLst>
        </pc:spChg>
        <pc:spChg chg="mod">
          <ac:chgData name="Daniel Cole" userId="f20a75f9320a1647" providerId="LiveId" clId="{42D3E951-AF5C-4164-98AB-2347A3B6E1E6}" dt="2024-03-21T19:45:54.994" v="19374" actId="1076"/>
          <ac:spMkLst>
            <pc:docMk/>
            <pc:sldMk cId="4081603858" sldId="263"/>
            <ac:spMk id="121" creationId="{2E1A0AE2-020E-B30F-BEF0-1357E0E701F6}"/>
          </ac:spMkLst>
        </pc:spChg>
        <pc:spChg chg="mod">
          <ac:chgData name="Daniel Cole" userId="f20a75f9320a1647" providerId="LiveId" clId="{42D3E951-AF5C-4164-98AB-2347A3B6E1E6}" dt="2024-03-21T19:45:54.994" v="19374" actId="1076"/>
          <ac:spMkLst>
            <pc:docMk/>
            <pc:sldMk cId="4081603858" sldId="263"/>
            <ac:spMk id="122" creationId="{97E38322-6A9C-26A3-78C3-3F228AD209C6}"/>
          </ac:spMkLst>
        </pc:spChg>
        <pc:spChg chg="mod">
          <ac:chgData name="Daniel Cole" userId="f20a75f9320a1647" providerId="LiveId" clId="{42D3E951-AF5C-4164-98AB-2347A3B6E1E6}" dt="2024-03-21T19:45:54.994" v="19374" actId="1076"/>
          <ac:spMkLst>
            <pc:docMk/>
            <pc:sldMk cId="4081603858" sldId="263"/>
            <ac:spMk id="123" creationId="{F88EAF44-E90B-A907-0C73-B4BF10BECC25}"/>
          </ac:spMkLst>
        </pc:spChg>
        <pc:spChg chg="mod">
          <ac:chgData name="Daniel Cole" userId="f20a75f9320a1647" providerId="LiveId" clId="{42D3E951-AF5C-4164-98AB-2347A3B6E1E6}" dt="2024-03-21T19:45:54.994" v="19374" actId="1076"/>
          <ac:spMkLst>
            <pc:docMk/>
            <pc:sldMk cId="4081603858" sldId="263"/>
            <ac:spMk id="125" creationId="{1B302F2D-F94D-F8ED-60F8-C975B27B240E}"/>
          </ac:spMkLst>
        </pc:spChg>
        <pc:spChg chg="mod">
          <ac:chgData name="Daniel Cole" userId="f20a75f9320a1647" providerId="LiveId" clId="{42D3E951-AF5C-4164-98AB-2347A3B6E1E6}" dt="2024-03-21T19:45:54.994" v="19374" actId="1076"/>
          <ac:spMkLst>
            <pc:docMk/>
            <pc:sldMk cId="4081603858" sldId="263"/>
            <ac:spMk id="126" creationId="{48808DAA-2904-99D6-C3D2-C91265D295BA}"/>
          </ac:spMkLst>
        </pc:spChg>
        <pc:spChg chg="mod">
          <ac:chgData name="Daniel Cole" userId="f20a75f9320a1647" providerId="LiveId" clId="{42D3E951-AF5C-4164-98AB-2347A3B6E1E6}" dt="2024-03-21T19:45:54.994" v="19374" actId="1076"/>
          <ac:spMkLst>
            <pc:docMk/>
            <pc:sldMk cId="4081603858" sldId="263"/>
            <ac:spMk id="127" creationId="{257121EA-FBB6-FBC8-3796-8A5006E1BD83}"/>
          </ac:spMkLst>
        </pc:spChg>
        <pc:spChg chg="mod">
          <ac:chgData name="Daniel Cole" userId="f20a75f9320a1647" providerId="LiveId" clId="{42D3E951-AF5C-4164-98AB-2347A3B6E1E6}" dt="2024-03-21T19:45:54.994" v="19374" actId="1076"/>
          <ac:spMkLst>
            <pc:docMk/>
            <pc:sldMk cId="4081603858" sldId="263"/>
            <ac:spMk id="128" creationId="{841BF633-47F9-5D87-D85B-02A69C514C41}"/>
          </ac:spMkLst>
        </pc:spChg>
        <pc:spChg chg="mod">
          <ac:chgData name="Daniel Cole" userId="f20a75f9320a1647" providerId="LiveId" clId="{42D3E951-AF5C-4164-98AB-2347A3B6E1E6}" dt="2024-03-21T19:45:54.994" v="19374" actId="1076"/>
          <ac:spMkLst>
            <pc:docMk/>
            <pc:sldMk cId="4081603858" sldId="263"/>
            <ac:spMk id="130" creationId="{282D7C23-974F-EC3E-2787-3915DE7B15F5}"/>
          </ac:spMkLst>
        </pc:spChg>
        <pc:spChg chg="mod">
          <ac:chgData name="Daniel Cole" userId="f20a75f9320a1647" providerId="LiveId" clId="{42D3E951-AF5C-4164-98AB-2347A3B6E1E6}" dt="2024-03-21T19:45:54.994" v="19374" actId="1076"/>
          <ac:spMkLst>
            <pc:docMk/>
            <pc:sldMk cId="4081603858" sldId="263"/>
            <ac:spMk id="131" creationId="{64903783-3AC7-6363-4000-4E4C4E6EB8E1}"/>
          </ac:spMkLst>
        </pc:spChg>
        <pc:spChg chg="mod">
          <ac:chgData name="Daniel Cole" userId="f20a75f9320a1647" providerId="LiveId" clId="{42D3E951-AF5C-4164-98AB-2347A3B6E1E6}" dt="2024-03-21T19:45:54.994" v="19374" actId="1076"/>
          <ac:spMkLst>
            <pc:docMk/>
            <pc:sldMk cId="4081603858" sldId="263"/>
            <ac:spMk id="132" creationId="{207A81F9-991E-51F1-1040-05D67B46050F}"/>
          </ac:spMkLst>
        </pc:spChg>
        <pc:spChg chg="mod">
          <ac:chgData name="Daniel Cole" userId="f20a75f9320a1647" providerId="LiveId" clId="{42D3E951-AF5C-4164-98AB-2347A3B6E1E6}" dt="2024-03-21T19:45:54.994" v="19374" actId="1076"/>
          <ac:spMkLst>
            <pc:docMk/>
            <pc:sldMk cId="4081603858" sldId="263"/>
            <ac:spMk id="133" creationId="{AF918C61-A461-C096-960C-7D0EE3F20A30}"/>
          </ac:spMkLst>
        </pc:spChg>
        <pc:spChg chg="mod">
          <ac:chgData name="Daniel Cole" userId="f20a75f9320a1647" providerId="LiveId" clId="{42D3E951-AF5C-4164-98AB-2347A3B6E1E6}" dt="2024-03-21T19:45:54.994" v="19374" actId="1076"/>
          <ac:spMkLst>
            <pc:docMk/>
            <pc:sldMk cId="4081603858" sldId="263"/>
            <ac:spMk id="134" creationId="{DA3E8FF7-0367-22FB-7849-9915365CA37C}"/>
          </ac:spMkLst>
        </pc:spChg>
        <pc:spChg chg="mod">
          <ac:chgData name="Daniel Cole" userId="f20a75f9320a1647" providerId="LiveId" clId="{42D3E951-AF5C-4164-98AB-2347A3B6E1E6}" dt="2024-03-21T19:45:54.994" v="19374" actId="1076"/>
          <ac:spMkLst>
            <pc:docMk/>
            <pc:sldMk cId="4081603858" sldId="263"/>
            <ac:spMk id="135" creationId="{8C32B0B9-0788-8D96-E4AD-661CA817E159}"/>
          </ac:spMkLst>
        </pc:spChg>
        <pc:spChg chg="mod">
          <ac:chgData name="Daniel Cole" userId="f20a75f9320a1647" providerId="LiveId" clId="{42D3E951-AF5C-4164-98AB-2347A3B6E1E6}" dt="2024-03-21T19:45:54.994" v="19374" actId="1076"/>
          <ac:spMkLst>
            <pc:docMk/>
            <pc:sldMk cId="4081603858" sldId="263"/>
            <ac:spMk id="137" creationId="{961F53B0-807D-AEF8-5F08-78DC96BBC719}"/>
          </ac:spMkLst>
        </pc:spChg>
        <pc:spChg chg="mod">
          <ac:chgData name="Daniel Cole" userId="f20a75f9320a1647" providerId="LiveId" clId="{42D3E951-AF5C-4164-98AB-2347A3B6E1E6}" dt="2024-03-21T19:45:54.994" v="19374" actId="1076"/>
          <ac:spMkLst>
            <pc:docMk/>
            <pc:sldMk cId="4081603858" sldId="263"/>
            <ac:spMk id="138" creationId="{236D1684-A3E9-90A9-2DB9-3B755FDDE2E7}"/>
          </ac:spMkLst>
        </pc:spChg>
        <pc:spChg chg="mod">
          <ac:chgData name="Daniel Cole" userId="f20a75f9320a1647" providerId="LiveId" clId="{42D3E951-AF5C-4164-98AB-2347A3B6E1E6}" dt="2024-03-21T19:45:54.994" v="19374" actId="1076"/>
          <ac:spMkLst>
            <pc:docMk/>
            <pc:sldMk cId="4081603858" sldId="263"/>
            <ac:spMk id="139" creationId="{4A8EE0B6-86FA-BE82-D27C-66630B13B58F}"/>
          </ac:spMkLst>
        </pc:spChg>
        <pc:spChg chg="mod">
          <ac:chgData name="Daniel Cole" userId="f20a75f9320a1647" providerId="LiveId" clId="{42D3E951-AF5C-4164-98AB-2347A3B6E1E6}" dt="2024-03-21T19:45:54.994" v="19374" actId="1076"/>
          <ac:spMkLst>
            <pc:docMk/>
            <pc:sldMk cId="4081603858" sldId="263"/>
            <ac:spMk id="140" creationId="{5E30A49F-70E2-F59D-2E74-2AF2C0DD364C}"/>
          </ac:spMkLst>
        </pc:spChg>
        <pc:spChg chg="mod">
          <ac:chgData name="Daniel Cole" userId="f20a75f9320a1647" providerId="LiveId" clId="{42D3E951-AF5C-4164-98AB-2347A3B6E1E6}" dt="2024-03-21T19:45:54.994" v="19374" actId="1076"/>
          <ac:spMkLst>
            <pc:docMk/>
            <pc:sldMk cId="4081603858" sldId="263"/>
            <ac:spMk id="141" creationId="{3F9DBEAA-FCD9-5646-7AF8-37D6C3F1B16A}"/>
          </ac:spMkLst>
        </pc:spChg>
        <pc:spChg chg="mod">
          <ac:chgData name="Daniel Cole" userId="f20a75f9320a1647" providerId="LiveId" clId="{42D3E951-AF5C-4164-98AB-2347A3B6E1E6}" dt="2024-03-21T19:45:54.994" v="19374" actId="1076"/>
          <ac:spMkLst>
            <pc:docMk/>
            <pc:sldMk cId="4081603858" sldId="263"/>
            <ac:spMk id="142" creationId="{79E9E328-165E-5F2A-7680-2A7C20B122EE}"/>
          </ac:spMkLst>
        </pc:spChg>
        <pc:spChg chg="add del mod">
          <ac:chgData name="Daniel Cole" userId="f20a75f9320a1647" providerId="LiveId" clId="{42D3E951-AF5C-4164-98AB-2347A3B6E1E6}" dt="2024-03-21T19:44:14.223" v="19352" actId="478"/>
          <ac:spMkLst>
            <pc:docMk/>
            <pc:sldMk cId="4081603858" sldId="263"/>
            <ac:spMk id="143" creationId="{CFB49885-21B1-31EA-3E25-0AB425D677C8}"/>
          </ac:spMkLst>
        </pc:spChg>
        <pc:spChg chg="add del mod">
          <ac:chgData name="Daniel Cole" userId="f20a75f9320a1647" providerId="LiveId" clId="{42D3E951-AF5C-4164-98AB-2347A3B6E1E6}" dt="2024-03-21T19:44:14.223" v="19352" actId="478"/>
          <ac:spMkLst>
            <pc:docMk/>
            <pc:sldMk cId="4081603858" sldId="263"/>
            <ac:spMk id="144" creationId="{31E19D08-5BF6-4E92-03C7-D5098A64EC38}"/>
          </ac:spMkLst>
        </pc:spChg>
        <pc:spChg chg="add 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59" creationId="{91821FF0-8BF3-EB1F-98F9-BB992183D6A0}"/>
          </ac:spMkLst>
        </pc:spChg>
        <pc:spChg chg="add 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60" creationId="{60080F6E-ACDE-140D-6F0D-4A2CB503BE21}"/>
          </ac:spMkLst>
        </pc:spChg>
        <pc:spChg chg="add 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61" creationId="{49D6B73C-B3C8-1215-7F95-2F42365FA94E}"/>
          </ac:spMkLst>
        </pc:spChg>
        <pc:spChg chg="add 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62" creationId="{A988F47A-A5B3-3DDD-B735-AF93770176D5}"/>
          </ac:spMkLst>
        </pc:spChg>
        <pc:spChg chg="add 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63" creationId="{AA66CDE9-4887-2F70-C60A-8322C40D2035}"/>
          </ac:spMkLst>
        </pc:spChg>
        <pc:spChg chg="add 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64" creationId="{FA6F0DCB-471A-16EE-5CD5-78D33FB02676}"/>
          </ac:spMkLst>
        </pc:spChg>
        <pc:spChg chg="add 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65" creationId="{F6665A62-EEB1-3D81-EA82-0A62F68509FD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67" creationId="{88735FE5-104C-B03C-657E-1D35611D5D6F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68" creationId="{7B6457E3-CC81-5900-709C-B7C9FE3AB201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69" creationId="{324DB3ED-8845-77FC-0676-DEDCC1EF000E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70" creationId="{72DEC153-7305-5201-A8D3-910D0A9C6971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71" creationId="{8F1B236F-2CC8-950F-53D7-670F742F5582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72" creationId="{FA6EB73B-6042-297C-11CA-C47071168E08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73" creationId="{543B7BC6-5117-A7A8-B9B9-47CFB516F69D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74" creationId="{EC32B78F-24A1-70D9-5591-668A610DA916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75" creationId="{76356E23-4F34-5604-BF1B-4281D25AD073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77" creationId="{E09A40DB-494C-1EBC-B1BC-60530C188F48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78" creationId="{431C7F4E-4914-B1DB-01E6-48E57F193350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79" creationId="{76A7BD80-D6F7-4A2F-A4BC-717F85AB0173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80" creationId="{3F8B17DA-34CC-0C4C-7BFF-16FDCA74E54D}"/>
          </ac:spMkLst>
        </pc:spChg>
        <pc:spChg chg="add 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81" creationId="{443BE122-3D8C-581E-A7A2-46E39FCC1FF2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83" creationId="{372419EE-59BB-EBE8-6C59-6C8BFB6F16DC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84" creationId="{B0C3361F-0AAC-C034-F791-F71CA823912A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85" creationId="{F013538A-A8A1-CEC8-1467-DF116341F0F4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86" creationId="{A53FA8F6-8E1F-D388-FD8A-FB1066874A3C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87" creationId="{7305DC5A-61DD-5701-866A-807E8F8B2A16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88" creationId="{E5A973FC-56C2-6D09-9E09-D05BB45CD1CE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90" creationId="{A1768A8D-F44D-60EC-4CCA-CB0D086CE04B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91" creationId="{CDB8237F-FD3C-65AA-E15B-C07CE642FC51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92" creationId="{35A9BCAE-EF93-FD16-0F12-4F514D0BE298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93" creationId="{330005A1-C304-FAD3-C1D8-3CD782F91CA2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94" creationId="{470508BC-35D5-8A80-CD12-46B02389B821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95" creationId="{74040FEC-B6A4-5D05-432D-ADB4AE4C435B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96" creationId="{F5B78A58-7FF3-36F0-5150-0EBB402C83D1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97" creationId="{8825324C-27CF-B430-9DA8-A474F911ADE2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98" creationId="{4C1540A1-E9C3-2C41-611D-690F5A1DB6BE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199" creationId="{2B2EE381-CFCE-F52C-A767-4B3A1ACC9D28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200" creationId="{A3CF7816-FD42-55E6-F9D4-853CBE969B5D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201" creationId="{6D9EEBED-0888-F788-6932-716870D09029}"/>
          </ac:spMkLst>
        </pc:spChg>
        <pc:spChg chg="add 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202" creationId="{937C8F6F-4B60-A209-D2F0-D5982A0063A3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204" creationId="{4FB21104-4DD2-44E2-3D0A-AC9ADBC875C3}"/>
          </ac:spMkLst>
        </pc:spChg>
        <pc:spChg chg="mod">
          <ac:chgData name="Daniel Cole" userId="f20a75f9320a1647" providerId="LiveId" clId="{42D3E951-AF5C-4164-98AB-2347A3B6E1E6}" dt="2024-03-21T19:50:17.287" v="19412" actId="1076"/>
          <ac:spMkLst>
            <pc:docMk/>
            <pc:sldMk cId="4081603858" sldId="263"/>
            <ac:spMk id="205" creationId="{BD99E6DE-10D7-7F75-1CB4-1F714BF3C5E0}"/>
          </ac:spMkLst>
        </pc:spChg>
        <pc:grpChg chg="add del mod">
          <ac:chgData name="Daniel Cole" userId="f20a75f9320a1647" providerId="LiveId" clId="{42D3E951-AF5C-4164-98AB-2347A3B6E1E6}" dt="2024-03-21T19:43:29.661" v="19345" actId="478"/>
          <ac:grpSpMkLst>
            <pc:docMk/>
            <pc:sldMk cId="4081603858" sldId="263"/>
            <ac:grpSpMk id="2" creationId="{6AA4E3AC-F5F1-3878-12F9-CB1840893311}"/>
          </ac:grpSpMkLst>
        </pc:grpChg>
        <pc:grpChg chg="add del mod">
          <ac:chgData name="Daniel Cole" userId="f20a75f9320a1647" providerId="LiveId" clId="{42D3E951-AF5C-4164-98AB-2347A3B6E1E6}" dt="2024-03-21T19:43:29.661" v="19345" actId="478"/>
          <ac:grpSpMkLst>
            <pc:docMk/>
            <pc:sldMk cId="4081603858" sldId="263"/>
            <ac:grpSpMk id="3" creationId="{8C04D1EF-00BD-1B5E-76D2-0330D58BCB53}"/>
          </ac:grpSpMkLst>
        </pc:grpChg>
        <pc:grpChg chg="add mod">
          <ac:chgData name="Daniel Cole" userId="f20a75f9320a1647" providerId="LiveId" clId="{42D3E951-AF5C-4164-98AB-2347A3B6E1E6}" dt="2024-03-19T01:08:59.159" v="4863" actId="1076"/>
          <ac:grpSpMkLst>
            <pc:docMk/>
            <pc:sldMk cId="4081603858" sldId="263"/>
            <ac:grpSpMk id="6" creationId="{EE20927D-F3FC-4C4B-CEE4-ACCA1ACA8C6A}"/>
          </ac:grpSpMkLst>
        </pc:grpChg>
        <pc:grpChg chg="add del mod">
          <ac:chgData name="Daniel Cole" userId="f20a75f9320a1647" providerId="LiveId" clId="{42D3E951-AF5C-4164-98AB-2347A3B6E1E6}" dt="2024-03-21T19:43:29.661" v="19345" actId="478"/>
          <ac:grpSpMkLst>
            <pc:docMk/>
            <pc:sldMk cId="4081603858" sldId="263"/>
            <ac:grpSpMk id="9" creationId="{DCA9E903-4168-291C-3EF9-479D0A03EA9C}"/>
          </ac:grpSpMkLst>
        </pc:grpChg>
        <pc:grpChg chg="add del mod">
          <ac:chgData name="Daniel Cole" userId="f20a75f9320a1647" providerId="LiveId" clId="{42D3E951-AF5C-4164-98AB-2347A3B6E1E6}" dt="2024-03-21T13:01:19.968" v="12182" actId="478"/>
          <ac:grpSpMkLst>
            <pc:docMk/>
            <pc:sldMk cId="4081603858" sldId="263"/>
            <ac:grpSpMk id="12" creationId="{F5D418DE-44D1-47B9-33A9-062E3D13A39A}"/>
          </ac:grpSpMkLst>
        </pc:grpChg>
        <pc:grpChg chg="add del mod">
          <ac:chgData name="Daniel Cole" userId="f20a75f9320a1647" providerId="LiveId" clId="{42D3E951-AF5C-4164-98AB-2347A3B6E1E6}" dt="2024-03-21T13:01:19.968" v="12182" actId="478"/>
          <ac:grpSpMkLst>
            <pc:docMk/>
            <pc:sldMk cId="4081603858" sldId="263"/>
            <ac:grpSpMk id="31" creationId="{65D064D9-A7B7-1BB8-F100-A15504DCAFDB}"/>
          </ac:grpSpMkLst>
        </pc:grpChg>
        <pc:grpChg chg="add del mod">
          <ac:chgData name="Daniel Cole" userId="f20a75f9320a1647" providerId="LiveId" clId="{42D3E951-AF5C-4164-98AB-2347A3B6E1E6}" dt="2024-03-21T13:01:19.968" v="12182" actId="478"/>
          <ac:grpSpMkLst>
            <pc:docMk/>
            <pc:sldMk cId="4081603858" sldId="263"/>
            <ac:grpSpMk id="34" creationId="{F4BCBC2B-49BE-51BD-7254-9D11BA73DDF0}"/>
          </ac:grpSpMkLst>
        </pc:grpChg>
        <pc:grpChg chg="add del mod">
          <ac:chgData name="Daniel Cole" userId="f20a75f9320a1647" providerId="LiveId" clId="{42D3E951-AF5C-4164-98AB-2347A3B6E1E6}" dt="2024-03-21T13:01:19.968" v="12182" actId="478"/>
          <ac:grpSpMkLst>
            <pc:docMk/>
            <pc:sldMk cId="4081603858" sldId="263"/>
            <ac:grpSpMk id="37" creationId="{5A949DF4-C41E-DFFA-97DE-567024A61685}"/>
          </ac:grpSpMkLst>
        </pc:grpChg>
        <pc:grpChg chg="add del mod">
          <ac:chgData name="Daniel Cole" userId="f20a75f9320a1647" providerId="LiveId" clId="{42D3E951-AF5C-4164-98AB-2347A3B6E1E6}" dt="2024-03-21T13:01:19.968" v="12182" actId="478"/>
          <ac:grpSpMkLst>
            <pc:docMk/>
            <pc:sldMk cId="4081603858" sldId="263"/>
            <ac:grpSpMk id="40" creationId="{883067E8-F7AB-94C5-BA47-141346499453}"/>
          </ac:grpSpMkLst>
        </pc:grpChg>
        <pc:grpChg chg="add del mod">
          <ac:chgData name="Daniel Cole" userId="f20a75f9320a1647" providerId="LiveId" clId="{42D3E951-AF5C-4164-98AB-2347A3B6E1E6}" dt="2024-03-21T13:01:19.968" v="12182" actId="478"/>
          <ac:grpSpMkLst>
            <pc:docMk/>
            <pc:sldMk cId="4081603858" sldId="263"/>
            <ac:grpSpMk id="43" creationId="{7B6DFC9D-1AED-F1FC-8412-BFB9BC885DFC}"/>
          </ac:grpSpMkLst>
        </pc:grpChg>
        <pc:grpChg chg="add del mod">
          <ac:chgData name="Daniel Cole" userId="f20a75f9320a1647" providerId="LiveId" clId="{42D3E951-AF5C-4164-98AB-2347A3B6E1E6}" dt="2024-03-21T19:43:29.661" v="19345" actId="478"/>
          <ac:grpSpMkLst>
            <pc:docMk/>
            <pc:sldMk cId="4081603858" sldId="263"/>
            <ac:grpSpMk id="50" creationId="{EA142294-C575-6729-1C64-6165614C7800}"/>
          </ac:grpSpMkLst>
        </pc:grpChg>
        <pc:grpChg chg="add mod">
          <ac:chgData name="Daniel Cole" userId="f20a75f9320a1647" providerId="LiveId" clId="{42D3E951-AF5C-4164-98AB-2347A3B6E1E6}" dt="2024-03-21T19:43:21.729" v="19343" actId="14100"/>
          <ac:grpSpMkLst>
            <pc:docMk/>
            <pc:sldMk cId="4081603858" sldId="263"/>
            <ac:grpSpMk id="63" creationId="{8FAF946A-A426-62EC-137D-5BE49109C273}"/>
          </ac:grpSpMkLst>
        </pc:grpChg>
        <pc:grpChg chg="add mod">
          <ac:chgData name="Daniel Cole" userId="f20a75f9320a1647" providerId="LiveId" clId="{42D3E951-AF5C-4164-98AB-2347A3B6E1E6}" dt="2024-03-21T19:43:21.729" v="19343" actId="14100"/>
          <ac:grpSpMkLst>
            <pc:docMk/>
            <pc:sldMk cId="4081603858" sldId="263"/>
            <ac:grpSpMk id="73" creationId="{112E9D89-D728-DD4B-E536-69763FD1CF2B}"/>
          </ac:grpSpMkLst>
        </pc:grpChg>
        <pc:grpChg chg="add mod">
          <ac:chgData name="Daniel Cole" userId="f20a75f9320a1647" providerId="LiveId" clId="{42D3E951-AF5C-4164-98AB-2347A3B6E1E6}" dt="2024-03-21T19:43:21.729" v="19343" actId="14100"/>
          <ac:grpSpMkLst>
            <pc:docMk/>
            <pc:sldMk cId="4081603858" sldId="263"/>
            <ac:grpSpMk id="78" creationId="{34F7D639-0935-3935-83D1-774F2E44E1DB}"/>
          </ac:grpSpMkLst>
        </pc:grpChg>
        <pc:grpChg chg="add mod">
          <ac:chgData name="Daniel Cole" userId="f20a75f9320a1647" providerId="LiveId" clId="{42D3E951-AF5C-4164-98AB-2347A3B6E1E6}" dt="2024-03-21T19:43:21.729" v="19343" actId="14100"/>
          <ac:grpSpMkLst>
            <pc:docMk/>
            <pc:sldMk cId="4081603858" sldId="263"/>
            <ac:grpSpMk id="85" creationId="{CAAFB0D0-1EAD-5339-F505-E2175ED31BE4}"/>
          </ac:grpSpMkLst>
        </pc:grpChg>
        <pc:grpChg chg="add mod">
          <ac:chgData name="Daniel Cole" userId="f20a75f9320a1647" providerId="LiveId" clId="{42D3E951-AF5C-4164-98AB-2347A3B6E1E6}" dt="2024-03-21T19:45:54.994" v="19374" actId="1076"/>
          <ac:grpSpMkLst>
            <pc:docMk/>
            <pc:sldMk cId="4081603858" sldId="263"/>
            <ac:grpSpMk id="114" creationId="{C01FA6BD-4237-ADFB-B4AD-59230B36EC00}"/>
          </ac:grpSpMkLst>
        </pc:grpChg>
        <pc:grpChg chg="add mod">
          <ac:chgData name="Daniel Cole" userId="f20a75f9320a1647" providerId="LiveId" clId="{42D3E951-AF5C-4164-98AB-2347A3B6E1E6}" dt="2024-03-21T19:45:54.994" v="19374" actId="1076"/>
          <ac:grpSpMkLst>
            <pc:docMk/>
            <pc:sldMk cId="4081603858" sldId="263"/>
            <ac:grpSpMk id="124" creationId="{56127B2D-D7DE-F488-8244-65E9F4355BCC}"/>
          </ac:grpSpMkLst>
        </pc:grpChg>
        <pc:grpChg chg="add mod">
          <ac:chgData name="Daniel Cole" userId="f20a75f9320a1647" providerId="LiveId" clId="{42D3E951-AF5C-4164-98AB-2347A3B6E1E6}" dt="2024-03-21T19:45:54.994" v="19374" actId="1076"/>
          <ac:grpSpMkLst>
            <pc:docMk/>
            <pc:sldMk cId="4081603858" sldId="263"/>
            <ac:grpSpMk id="129" creationId="{8A150A0D-F5A3-CF9F-F511-2C7AA88E087A}"/>
          </ac:grpSpMkLst>
        </pc:grpChg>
        <pc:grpChg chg="add mod">
          <ac:chgData name="Daniel Cole" userId="f20a75f9320a1647" providerId="LiveId" clId="{42D3E951-AF5C-4164-98AB-2347A3B6E1E6}" dt="2024-03-21T19:45:54.994" v="19374" actId="1076"/>
          <ac:grpSpMkLst>
            <pc:docMk/>
            <pc:sldMk cId="4081603858" sldId="263"/>
            <ac:grpSpMk id="136" creationId="{16E48EB1-C7C1-0059-047C-D2BAE8FED267}"/>
          </ac:grpSpMkLst>
        </pc:grpChg>
        <pc:grpChg chg="add del mod">
          <ac:chgData name="Daniel Cole" userId="f20a75f9320a1647" providerId="LiveId" clId="{42D3E951-AF5C-4164-98AB-2347A3B6E1E6}" dt="2024-03-21T19:52:53.569" v="19413" actId="478"/>
          <ac:grpSpMkLst>
            <pc:docMk/>
            <pc:sldMk cId="4081603858" sldId="263"/>
            <ac:grpSpMk id="145" creationId="{EADEB7BC-2F9E-C74D-8FDF-7CA78D026D2F}"/>
          </ac:grpSpMkLst>
        </pc:grpChg>
        <pc:grpChg chg="add mod">
          <ac:chgData name="Daniel Cole" userId="f20a75f9320a1647" providerId="LiveId" clId="{42D3E951-AF5C-4164-98AB-2347A3B6E1E6}" dt="2024-03-21T19:50:17.287" v="19412" actId="1076"/>
          <ac:grpSpMkLst>
            <pc:docMk/>
            <pc:sldMk cId="4081603858" sldId="263"/>
            <ac:grpSpMk id="146" creationId="{E996E0E5-5241-C39F-08FF-3E7E607E613B}"/>
          </ac:grpSpMkLst>
        </pc:grpChg>
        <pc:grpChg chg="add mod">
          <ac:chgData name="Daniel Cole" userId="f20a75f9320a1647" providerId="LiveId" clId="{42D3E951-AF5C-4164-98AB-2347A3B6E1E6}" dt="2024-03-21T19:50:17.287" v="19412" actId="1076"/>
          <ac:grpSpMkLst>
            <pc:docMk/>
            <pc:sldMk cId="4081603858" sldId="263"/>
            <ac:grpSpMk id="166" creationId="{91F86D0C-3BA2-7696-3F26-6DCAE140558D}"/>
          </ac:grpSpMkLst>
        </pc:grpChg>
        <pc:grpChg chg="add mod">
          <ac:chgData name="Daniel Cole" userId="f20a75f9320a1647" providerId="LiveId" clId="{42D3E951-AF5C-4164-98AB-2347A3B6E1E6}" dt="2024-03-21T19:50:17.287" v="19412" actId="1076"/>
          <ac:grpSpMkLst>
            <pc:docMk/>
            <pc:sldMk cId="4081603858" sldId="263"/>
            <ac:grpSpMk id="176" creationId="{BF4C2DD7-6352-7923-2389-BA2A9AB28990}"/>
          </ac:grpSpMkLst>
        </pc:grpChg>
        <pc:grpChg chg="add mod">
          <ac:chgData name="Daniel Cole" userId="f20a75f9320a1647" providerId="LiveId" clId="{42D3E951-AF5C-4164-98AB-2347A3B6E1E6}" dt="2024-03-21T19:50:17.287" v="19412" actId="1076"/>
          <ac:grpSpMkLst>
            <pc:docMk/>
            <pc:sldMk cId="4081603858" sldId="263"/>
            <ac:grpSpMk id="182" creationId="{4A0488C4-85CA-3418-041E-0F534C291155}"/>
          </ac:grpSpMkLst>
        </pc:grpChg>
        <pc:grpChg chg="add mod">
          <ac:chgData name="Daniel Cole" userId="f20a75f9320a1647" providerId="LiveId" clId="{42D3E951-AF5C-4164-98AB-2347A3B6E1E6}" dt="2024-03-21T19:50:17.287" v="19412" actId="1076"/>
          <ac:grpSpMkLst>
            <pc:docMk/>
            <pc:sldMk cId="4081603858" sldId="263"/>
            <ac:grpSpMk id="189" creationId="{9879A32B-95F2-C6A9-9E9C-5E557D02FF61}"/>
          </ac:grpSpMkLst>
        </pc:grpChg>
        <pc:grpChg chg="add mod">
          <ac:chgData name="Daniel Cole" userId="f20a75f9320a1647" providerId="LiveId" clId="{42D3E951-AF5C-4164-98AB-2347A3B6E1E6}" dt="2024-03-21T19:50:17.287" v="19412" actId="1076"/>
          <ac:grpSpMkLst>
            <pc:docMk/>
            <pc:sldMk cId="4081603858" sldId="263"/>
            <ac:grpSpMk id="203" creationId="{AC4056E8-73C9-9922-D398-9132BC0F7C16}"/>
          </ac:grpSpMkLst>
        </pc:grpChg>
        <pc:graphicFrameChg chg="add mod">
          <ac:chgData name="Daniel Cole" userId="f20a75f9320a1647" providerId="LiveId" clId="{42D3E951-AF5C-4164-98AB-2347A3B6E1E6}" dt="2024-03-19T01:08:59.159" v="4863" actId="1076"/>
          <ac:graphicFrameMkLst>
            <pc:docMk/>
            <pc:sldMk cId="4081603858" sldId="263"/>
            <ac:graphicFrameMk id="15" creationId="{7649FA80-D81C-B1FE-EC41-B9FEF3E7F558}"/>
          </ac:graphicFrameMkLst>
        </pc:graphicFrameChg>
        <pc:cxnChg chg="mod">
          <ac:chgData name="Daniel Cole" userId="f20a75f9320a1647" providerId="LiveId" clId="{42D3E951-AF5C-4164-98AB-2347A3B6E1E6}" dt="2024-03-21T13:11:23.207" v="12793" actId="1037"/>
          <ac:cxnSpMkLst>
            <pc:docMk/>
            <pc:sldMk cId="4081603858" sldId="263"/>
            <ac:cxnSpMk id="4" creationId="{CAA1AB46-215F-584C-0810-ADB948E993D0}"/>
          </ac:cxnSpMkLst>
        </pc:cxnChg>
        <pc:cxnChg chg="mod">
          <ac:chgData name="Daniel Cole" userId="f20a75f9320a1647" providerId="LiveId" clId="{42D3E951-AF5C-4164-98AB-2347A3B6E1E6}" dt="2024-03-19T01:08:59.159" v="4863" actId="1076"/>
          <ac:cxnSpMkLst>
            <pc:docMk/>
            <pc:sldMk cId="4081603858" sldId="263"/>
            <ac:cxnSpMk id="7" creationId="{38B714C0-A630-C933-C882-C0F1AF483DF5}"/>
          </ac:cxnSpMkLst>
        </pc:cxnChg>
        <pc:cxnChg chg="mod">
          <ac:chgData name="Daniel Cole" userId="f20a75f9320a1647" providerId="LiveId" clId="{42D3E951-AF5C-4164-98AB-2347A3B6E1E6}" dt="2024-03-21T13:11:23.207" v="12793" actId="1037"/>
          <ac:cxnSpMkLst>
            <pc:docMk/>
            <pc:sldMk cId="4081603858" sldId="263"/>
            <ac:cxnSpMk id="10" creationId="{2B93374E-850C-B341-63C1-60B4B9C370E8}"/>
          </ac:cxnSpMkLst>
        </pc:cxnChg>
        <pc:cxnChg chg="mod">
          <ac:chgData name="Daniel Cole" userId="f20a75f9320a1647" providerId="LiveId" clId="{42D3E951-AF5C-4164-98AB-2347A3B6E1E6}" dt="2024-03-21T12:15:21.628" v="11198" actId="1037"/>
          <ac:cxnSpMkLst>
            <pc:docMk/>
            <pc:sldMk cId="4081603858" sldId="263"/>
            <ac:cxnSpMk id="13" creationId="{0DB109D0-6F20-2DF4-0B2E-5DC33CF5A1E2}"/>
          </ac:cxnSpMkLst>
        </pc:cxnChg>
        <pc:cxnChg chg="add mod">
          <ac:chgData name="Daniel Cole" userId="f20a75f9320a1647" providerId="LiveId" clId="{42D3E951-AF5C-4164-98AB-2347A3B6E1E6}" dt="2024-03-21T19:43:21.729" v="19343" actId="14100"/>
          <ac:cxnSpMkLst>
            <pc:docMk/>
            <pc:sldMk cId="4081603858" sldId="263"/>
            <ac:cxnSpMk id="32" creationId="{C8412D04-BCD5-49A9-327D-A6A24BD09CF7}"/>
          </ac:cxnSpMkLst>
        </pc:cxnChg>
        <pc:cxnChg chg="add mod">
          <ac:chgData name="Daniel Cole" userId="f20a75f9320a1647" providerId="LiveId" clId="{42D3E951-AF5C-4164-98AB-2347A3B6E1E6}" dt="2024-03-21T19:43:21.729" v="19343" actId="14100"/>
          <ac:cxnSpMkLst>
            <pc:docMk/>
            <pc:sldMk cId="4081603858" sldId="263"/>
            <ac:cxnSpMk id="34" creationId="{B3729D61-4DD2-5597-735B-C1437323CBEF}"/>
          </ac:cxnSpMkLst>
        </pc:cxnChg>
        <pc:cxnChg chg="add mod">
          <ac:chgData name="Daniel Cole" userId="f20a75f9320a1647" providerId="LiveId" clId="{42D3E951-AF5C-4164-98AB-2347A3B6E1E6}" dt="2024-03-21T19:43:21.729" v="19343" actId="14100"/>
          <ac:cxnSpMkLst>
            <pc:docMk/>
            <pc:sldMk cId="4081603858" sldId="263"/>
            <ac:cxnSpMk id="35" creationId="{FB6C3DC1-0F32-B5EC-F0E4-FAF9113A6411}"/>
          </ac:cxnSpMkLst>
        </pc:cxnChg>
        <pc:cxnChg chg="add mod">
          <ac:chgData name="Daniel Cole" userId="f20a75f9320a1647" providerId="LiveId" clId="{42D3E951-AF5C-4164-98AB-2347A3B6E1E6}" dt="2024-03-21T19:43:21.729" v="19343" actId="14100"/>
          <ac:cxnSpMkLst>
            <pc:docMk/>
            <pc:sldMk cId="4081603858" sldId="263"/>
            <ac:cxnSpMk id="36" creationId="{DBB675E9-BBD4-DCA9-4B26-483DB2AA4BD9}"/>
          </ac:cxnSpMkLst>
        </pc:cxnChg>
        <pc:cxnChg chg="add mod">
          <ac:chgData name="Daniel Cole" userId="f20a75f9320a1647" providerId="LiveId" clId="{42D3E951-AF5C-4164-98AB-2347A3B6E1E6}" dt="2024-03-21T19:43:21.729" v="19343" actId="14100"/>
          <ac:cxnSpMkLst>
            <pc:docMk/>
            <pc:sldMk cId="4081603858" sldId="263"/>
            <ac:cxnSpMk id="37" creationId="{1A42D872-F372-39C3-6141-742586C2DE3B}"/>
          </ac:cxnSpMkLst>
        </pc:cxnChg>
        <pc:cxnChg chg="add mod">
          <ac:chgData name="Daniel Cole" userId="f20a75f9320a1647" providerId="LiveId" clId="{42D3E951-AF5C-4164-98AB-2347A3B6E1E6}" dt="2024-03-21T19:43:21.729" v="19343" actId="14100"/>
          <ac:cxnSpMkLst>
            <pc:docMk/>
            <pc:sldMk cId="4081603858" sldId="263"/>
            <ac:cxnSpMk id="38" creationId="{CFF0C4CE-57AD-826B-084E-35FEEF69E1B1}"/>
          </ac:cxnSpMkLst>
        </pc:cxnChg>
        <pc:cxnChg chg="add mod">
          <ac:chgData name="Daniel Cole" userId="f20a75f9320a1647" providerId="LiveId" clId="{42D3E951-AF5C-4164-98AB-2347A3B6E1E6}" dt="2024-03-21T19:43:21.729" v="19343" actId="14100"/>
          <ac:cxnSpMkLst>
            <pc:docMk/>
            <pc:sldMk cId="4081603858" sldId="263"/>
            <ac:cxnSpMk id="39" creationId="{6AC8B212-038E-1FDF-4A37-9344A16928F5}"/>
          </ac:cxnSpMkLst>
        </pc:cxnChg>
        <pc:cxnChg chg="add mod">
          <ac:chgData name="Daniel Cole" userId="f20a75f9320a1647" providerId="LiveId" clId="{42D3E951-AF5C-4164-98AB-2347A3B6E1E6}" dt="2024-03-21T19:43:21.729" v="19343" actId="14100"/>
          <ac:cxnSpMkLst>
            <pc:docMk/>
            <pc:sldMk cId="4081603858" sldId="263"/>
            <ac:cxnSpMk id="40" creationId="{D5F3C834-A858-FC36-C769-F02292EB77EE}"/>
          </ac:cxnSpMkLst>
        </pc:cxnChg>
        <pc:cxnChg chg="add mod">
          <ac:chgData name="Daniel Cole" userId="f20a75f9320a1647" providerId="LiveId" clId="{42D3E951-AF5C-4164-98AB-2347A3B6E1E6}" dt="2024-03-21T19:43:21.729" v="19343" actId="14100"/>
          <ac:cxnSpMkLst>
            <pc:docMk/>
            <pc:sldMk cId="4081603858" sldId="263"/>
            <ac:cxnSpMk id="41" creationId="{C7229FF8-EB7F-3549-07CC-DD4A8650A733}"/>
          </ac:cxnSpMkLst>
        </pc:cxnChg>
        <pc:cxnChg chg="add mod">
          <ac:chgData name="Daniel Cole" userId="f20a75f9320a1647" providerId="LiveId" clId="{42D3E951-AF5C-4164-98AB-2347A3B6E1E6}" dt="2024-03-21T19:43:21.729" v="19343" actId="14100"/>
          <ac:cxnSpMkLst>
            <pc:docMk/>
            <pc:sldMk cId="4081603858" sldId="263"/>
            <ac:cxnSpMk id="42" creationId="{030A1A6C-1513-00C9-F8B5-A543E8B762F0}"/>
          </ac:cxnSpMkLst>
        </pc:cxnChg>
        <pc:cxnChg chg="add del mod">
          <ac:chgData name="Daniel Cole" userId="f20a75f9320a1647" providerId="LiveId" clId="{42D3E951-AF5C-4164-98AB-2347A3B6E1E6}" dt="2024-03-21T13:01:19.968" v="12182" actId="478"/>
          <ac:cxnSpMkLst>
            <pc:docMk/>
            <pc:sldMk cId="4081603858" sldId="263"/>
            <ac:cxnSpMk id="46" creationId="{00A4CC51-F704-9E90-626F-EEA69E350FB0}"/>
          </ac:cxnSpMkLst>
        </pc:cxnChg>
        <pc:cxnChg chg="add del mod">
          <ac:chgData name="Daniel Cole" userId="f20a75f9320a1647" providerId="LiveId" clId="{42D3E951-AF5C-4164-98AB-2347A3B6E1E6}" dt="2024-03-21T13:01:19.968" v="12182" actId="478"/>
          <ac:cxnSpMkLst>
            <pc:docMk/>
            <pc:sldMk cId="4081603858" sldId="263"/>
            <ac:cxnSpMk id="47" creationId="{D3B6B3F1-5B58-977D-39B4-2DAE2B6986F4}"/>
          </ac:cxnSpMkLst>
        </pc:cxnChg>
        <pc:cxnChg chg="add del mod">
          <ac:chgData name="Daniel Cole" userId="f20a75f9320a1647" providerId="LiveId" clId="{42D3E951-AF5C-4164-98AB-2347A3B6E1E6}" dt="2024-03-21T13:01:19.968" v="12182" actId="478"/>
          <ac:cxnSpMkLst>
            <pc:docMk/>
            <pc:sldMk cId="4081603858" sldId="263"/>
            <ac:cxnSpMk id="48" creationId="{00DD75EA-637A-22A1-DCB6-E6B89D193D1C}"/>
          </ac:cxnSpMkLst>
        </pc:cxnChg>
        <pc:cxnChg chg="mod">
          <ac:chgData name="Daniel Cole" userId="f20a75f9320a1647" providerId="LiveId" clId="{42D3E951-AF5C-4164-98AB-2347A3B6E1E6}" dt="2024-03-21T13:11:23.207" v="12793" actId="1037"/>
          <ac:cxnSpMkLst>
            <pc:docMk/>
            <pc:sldMk cId="4081603858" sldId="263"/>
            <ac:cxnSpMk id="51" creationId="{463D60D4-2E84-849D-1F78-EE38CA722DC7}"/>
          </ac:cxnSpMkLst>
        </pc:cxnChg>
        <pc:cxnChg chg="mod">
          <ac:chgData name="Daniel Cole" userId="f20a75f9320a1647" providerId="LiveId" clId="{42D3E951-AF5C-4164-98AB-2347A3B6E1E6}" dt="2024-03-21T13:11:23.207" v="12793" actId="1037"/>
          <ac:cxnSpMkLst>
            <pc:docMk/>
            <pc:sldMk cId="4081603858" sldId="263"/>
            <ac:cxnSpMk id="52" creationId="{0D002961-AB75-1457-A10D-BDB7569A4600}"/>
          </ac:cxnSpMkLst>
        </pc:cxnChg>
        <pc:cxnChg chg="mod">
          <ac:chgData name="Daniel Cole" userId="f20a75f9320a1647" providerId="LiveId" clId="{42D3E951-AF5C-4164-98AB-2347A3B6E1E6}" dt="2024-03-21T13:11:23.207" v="12793" actId="1037"/>
          <ac:cxnSpMkLst>
            <pc:docMk/>
            <pc:sldMk cId="4081603858" sldId="263"/>
            <ac:cxnSpMk id="53" creationId="{8D43AABC-BAB1-D523-E55E-65C5AE6D01D8}"/>
          </ac:cxnSpMkLst>
        </pc:cxnChg>
        <pc:cxnChg chg="mod">
          <ac:chgData name="Daniel Cole" userId="f20a75f9320a1647" providerId="LiveId" clId="{42D3E951-AF5C-4164-98AB-2347A3B6E1E6}" dt="2024-03-21T13:11:23.207" v="12793" actId="1037"/>
          <ac:cxnSpMkLst>
            <pc:docMk/>
            <pc:sldMk cId="4081603858" sldId="263"/>
            <ac:cxnSpMk id="54" creationId="{1BD716B3-894D-F700-EF7F-DA7EE54C670C}"/>
          </ac:cxnSpMkLst>
        </pc:cxnChg>
        <pc:cxnChg chg="mod">
          <ac:chgData name="Daniel Cole" userId="f20a75f9320a1647" providerId="LiveId" clId="{42D3E951-AF5C-4164-98AB-2347A3B6E1E6}" dt="2024-03-21T13:11:23.207" v="12793" actId="1037"/>
          <ac:cxnSpMkLst>
            <pc:docMk/>
            <pc:sldMk cId="4081603858" sldId="263"/>
            <ac:cxnSpMk id="56" creationId="{EE2E1492-DC84-3A1F-2000-19C7DBF95C79}"/>
          </ac:cxnSpMkLst>
        </pc:cxnChg>
        <pc:cxnChg chg="add mod">
          <ac:chgData name="Daniel Cole" userId="f20a75f9320a1647" providerId="LiveId" clId="{42D3E951-AF5C-4164-98AB-2347A3B6E1E6}" dt="2024-03-21T19:45:54.994" v="19374" actId="1076"/>
          <ac:cxnSpMkLst>
            <pc:docMk/>
            <pc:sldMk cId="4081603858" sldId="263"/>
            <ac:cxnSpMk id="96" creationId="{62185736-D4FC-2EEF-6B50-7B045F05E147}"/>
          </ac:cxnSpMkLst>
        </pc:cxnChg>
        <pc:cxnChg chg="add mod">
          <ac:chgData name="Daniel Cole" userId="f20a75f9320a1647" providerId="LiveId" clId="{42D3E951-AF5C-4164-98AB-2347A3B6E1E6}" dt="2024-03-21T19:45:54.994" v="19374" actId="1076"/>
          <ac:cxnSpMkLst>
            <pc:docMk/>
            <pc:sldMk cId="4081603858" sldId="263"/>
            <ac:cxnSpMk id="98" creationId="{BA2BAEEA-10AC-9E7D-3E59-02A0D05D1FCF}"/>
          </ac:cxnSpMkLst>
        </pc:cxnChg>
        <pc:cxnChg chg="add mod">
          <ac:chgData name="Daniel Cole" userId="f20a75f9320a1647" providerId="LiveId" clId="{42D3E951-AF5C-4164-98AB-2347A3B6E1E6}" dt="2024-03-21T19:45:54.994" v="19374" actId="1076"/>
          <ac:cxnSpMkLst>
            <pc:docMk/>
            <pc:sldMk cId="4081603858" sldId="263"/>
            <ac:cxnSpMk id="99" creationId="{911E72BF-F17B-62B2-0065-CF64EE01E5C4}"/>
          </ac:cxnSpMkLst>
        </pc:cxnChg>
        <pc:cxnChg chg="add mod">
          <ac:chgData name="Daniel Cole" userId="f20a75f9320a1647" providerId="LiveId" clId="{42D3E951-AF5C-4164-98AB-2347A3B6E1E6}" dt="2024-03-21T19:45:54.994" v="19374" actId="1076"/>
          <ac:cxnSpMkLst>
            <pc:docMk/>
            <pc:sldMk cId="4081603858" sldId="263"/>
            <ac:cxnSpMk id="100" creationId="{F98DBAF1-9CF1-FC38-259D-52D4C70C5FE2}"/>
          </ac:cxnSpMkLst>
        </pc:cxnChg>
        <pc:cxnChg chg="add mod">
          <ac:chgData name="Daniel Cole" userId="f20a75f9320a1647" providerId="LiveId" clId="{42D3E951-AF5C-4164-98AB-2347A3B6E1E6}" dt="2024-03-21T19:45:54.994" v="19374" actId="1076"/>
          <ac:cxnSpMkLst>
            <pc:docMk/>
            <pc:sldMk cId="4081603858" sldId="263"/>
            <ac:cxnSpMk id="101" creationId="{B94D9EA3-65C7-E156-3026-2CDF9DCA685D}"/>
          </ac:cxnSpMkLst>
        </pc:cxnChg>
        <pc:cxnChg chg="add mod">
          <ac:chgData name="Daniel Cole" userId="f20a75f9320a1647" providerId="LiveId" clId="{42D3E951-AF5C-4164-98AB-2347A3B6E1E6}" dt="2024-03-21T19:45:54.994" v="19374" actId="1076"/>
          <ac:cxnSpMkLst>
            <pc:docMk/>
            <pc:sldMk cId="4081603858" sldId="263"/>
            <ac:cxnSpMk id="102" creationId="{D9082B35-BD33-FDC6-4621-F319375CE160}"/>
          </ac:cxnSpMkLst>
        </pc:cxnChg>
        <pc:cxnChg chg="add mod">
          <ac:chgData name="Daniel Cole" userId="f20a75f9320a1647" providerId="LiveId" clId="{42D3E951-AF5C-4164-98AB-2347A3B6E1E6}" dt="2024-03-21T19:45:54.994" v="19374" actId="1076"/>
          <ac:cxnSpMkLst>
            <pc:docMk/>
            <pc:sldMk cId="4081603858" sldId="263"/>
            <ac:cxnSpMk id="103" creationId="{8B9793EA-EE11-A6E3-BA02-474B6AD51F30}"/>
          </ac:cxnSpMkLst>
        </pc:cxnChg>
        <pc:cxnChg chg="add mod">
          <ac:chgData name="Daniel Cole" userId="f20a75f9320a1647" providerId="LiveId" clId="{42D3E951-AF5C-4164-98AB-2347A3B6E1E6}" dt="2024-03-21T19:45:54.994" v="19374" actId="1076"/>
          <ac:cxnSpMkLst>
            <pc:docMk/>
            <pc:sldMk cId="4081603858" sldId="263"/>
            <ac:cxnSpMk id="104" creationId="{FDBE30F4-C2F3-C149-1B2B-73E94B432601}"/>
          </ac:cxnSpMkLst>
        </pc:cxnChg>
        <pc:cxnChg chg="add mod">
          <ac:chgData name="Daniel Cole" userId="f20a75f9320a1647" providerId="LiveId" clId="{42D3E951-AF5C-4164-98AB-2347A3B6E1E6}" dt="2024-03-21T19:45:54.994" v="19374" actId="1076"/>
          <ac:cxnSpMkLst>
            <pc:docMk/>
            <pc:sldMk cId="4081603858" sldId="263"/>
            <ac:cxnSpMk id="105" creationId="{3A7B2025-C6AA-A64F-12DD-E5181CDEE554}"/>
          </ac:cxnSpMkLst>
        </pc:cxnChg>
        <pc:cxnChg chg="add mod">
          <ac:chgData name="Daniel Cole" userId="f20a75f9320a1647" providerId="LiveId" clId="{42D3E951-AF5C-4164-98AB-2347A3B6E1E6}" dt="2024-03-21T19:45:54.994" v="19374" actId="1076"/>
          <ac:cxnSpMkLst>
            <pc:docMk/>
            <pc:sldMk cId="4081603858" sldId="263"/>
            <ac:cxnSpMk id="106" creationId="{860893CB-E8E8-A2A6-9CB8-FCA7CB2598AC}"/>
          </ac:cxnSpMkLst>
        </pc:cxnChg>
        <pc:cxnChg chg="mod">
          <ac:chgData name="Daniel Cole" userId="f20a75f9320a1647" providerId="LiveId" clId="{42D3E951-AF5C-4164-98AB-2347A3B6E1E6}" dt="2024-03-21T19:50:17.287" v="19412" actId="1076"/>
          <ac:cxnSpMkLst>
            <pc:docMk/>
            <pc:sldMk cId="4081603858" sldId="263"/>
            <ac:cxnSpMk id="147" creationId="{D9598162-BE5A-AB98-2C29-C2A8186D28A2}"/>
          </ac:cxnSpMkLst>
        </pc:cxnChg>
        <pc:cxnChg chg="mod">
          <ac:chgData name="Daniel Cole" userId="f20a75f9320a1647" providerId="LiveId" clId="{42D3E951-AF5C-4164-98AB-2347A3B6E1E6}" dt="2024-03-21T19:50:17.287" v="19412" actId="1076"/>
          <ac:cxnSpMkLst>
            <pc:docMk/>
            <pc:sldMk cId="4081603858" sldId="263"/>
            <ac:cxnSpMk id="148" creationId="{92A2ABF5-9A3B-96D4-3CB1-DC1634429B72}"/>
          </ac:cxnSpMkLst>
        </pc:cxnChg>
        <pc:cxnChg chg="mod">
          <ac:chgData name="Daniel Cole" userId="f20a75f9320a1647" providerId="LiveId" clId="{42D3E951-AF5C-4164-98AB-2347A3B6E1E6}" dt="2024-03-21T19:50:17.287" v="19412" actId="1076"/>
          <ac:cxnSpMkLst>
            <pc:docMk/>
            <pc:sldMk cId="4081603858" sldId="263"/>
            <ac:cxnSpMk id="149" creationId="{FA01890F-0762-CF70-E914-05A916F0C582}"/>
          </ac:cxnSpMkLst>
        </pc:cxnChg>
        <pc:cxnChg chg="mod">
          <ac:chgData name="Daniel Cole" userId="f20a75f9320a1647" providerId="LiveId" clId="{42D3E951-AF5C-4164-98AB-2347A3B6E1E6}" dt="2024-03-21T19:50:17.287" v="19412" actId="1076"/>
          <ac:cxnSpMkLst>
            <pc:docMk/>
            <pc:sldMk cId="4081603858" sldId="263"/>
            <ac:cxnSpMk id="150" creationId="{54009AE1-2E9C-DFB3-7475-42A853CAAFF1}"/>
          </ac:cxnSpMkLst>
        </pc:cxnChg>
        <pc:cxnChg chg="mod">
          <ac:chgData name="Daniel Cole" userId="f20a75f9320a1647" providerId="LiveId" clId="{42D3E951-AF5C-4164-98AB-2347A3B6E1E6}" dt="2024-03-21T19:50:17.287" v="19412" actId="1076"/>
          <ac:cxnSpMkLst>
            <pc:docMk/>
            <pc:sldMk cId="4081603858" sldId="263"/>
            <ac:cxnSpMk id="151" creationId="{2ECDC70F-C73F-C12D-25D1-C5589CBEC47B}"/>
          </ac:cxnSpMkLst>
        </pc:cxnChg>
        <pc:cxnChg chg="mod">
          <ac:chgData name="Daniel Cole" userId="f20a75f9320a1647" providerId="LiveId" clId="{42D3E951-AF5C-4164-98AB-2347A3B6E1E6}" dt="2024-03-21T19:50:17.287" v="19412" actId="1076"/>
          <ac:cxnSpMkLst>
            <pc:docMk/>
            <pc:sldMk cId="4081603858" sldId="263"/>
            <ac:cxnSpMk id="152" creationId="{FB74AAC3-C889-9A75-918A-7470493DA4C5}"/>
          </ac:cxnSpMkLst>
        </pc:cxnChg>
        <pc:cxnChg chg="mod">
          <ac:chgData name="Daniel Cole" userId="f20a75f9320a1647" providerId="LiveId" clId="{42D3E951-AF5C-4164-98AB-2347A3B6E1E6}" dt="2024-03-21T19:50:17.287" v="19412" actId="1076"/>
          <ac:cxnSpMkLst>
            <pc:docMk/>
            <pc:sldMk cId="4081603858" sldId="263"/>
            <ac:cxnSpMk id="153" creationId="{C92D2A6F-C761-FC1A-2F8E-F5A5FC6487FA}"/>
          </ac:cxnSpMkLst>
        </pc:cxnChg>
        <pc:cxnChg chg="mod">
          <ac:chgData name="Daniel Cole" userId="f20a75f9320a1647" providerId="LiveId" clId="{42D3E951-AF5C-4164-98AB-2347A3B6E1E6}" dt="2024-03-21T19:50:17.287" v="19412" actId="1076"/>
          <ac:cxnSpMkLst>
            <pc:docMk/>
            <pc:sldMk cId="4081603858" sldId="263"/>
            <ac:cxnSpMk id="154" creationId="{74DAC6FB-8AE4-504B-DE5B-3A720782BE37}"/>
          </ac:cxnSpMkLst>
        </pc:cxnChg>
        <pc:cxnChg chg="mod">
          <ac:chgData name="Daniel Cole" userId="f20a75f9320a1647" providerId="LiveId" clId="{42D3E951-AF5C-4164-98AB-2347A3B6E1E6}" dt="2024-03-21T19:50:17.287" v="19412" actId="1076"/>
          <ac:cxnSpMkLst>
            <pc:docMk/>
            <pc:sldMk cId="4081603858" sldId="263"/>
            <ac:cxnSpMk id="155" creationId="{735FBBF4-728E-A375-B67D-06FFF9F27508}"/>
          </ac:cxnSpMkLst>
        </pc:cxnChg>
        <pc:cxnChg chg="mod">
          <ac:chgData name="Daniel Cole" userId="f20a75f9320a1647" providerId="LiveId" clId="{42D3E951-AF5C-4164-98AB-2347A3B6E1E6}" dt="2024-03-21T19:50:17.287" v="19412" actId="1076"/>
          <ac:cxnSpMkLst>
            <pc:docMk/>
            <pc:sldMk cId="4081603858" sldId="263"/>
            <ac:cxnSpMk id="156" creationId="{34363849-87D1-901D-1570-2ED964A07944}"/>
          </ac:cxnSpMkLst>
        </pc:cxnChg>
        <pc:cxnChg chg="mod">
          <ac:chgData name="Daniel Cole" userId="f20a75f9320a1647" providerId="LiveId" clId="{42D3E951-AF5C-4164-98AB-2347A3B6E1E6}" dt="2024-03-21T19:50:17.287" v="19412" actId="1076"/>
          <ac:cxnSpMkLst>
            <pc:docMk/>
            <pc:sldMk cId="4081603858" sldId="263"/>
            <ac:cxnSpMk id="157" creationId="{1FCB0CAE-6F5F-105F-00AF-1FC80F4AEC79}"/>
          </ac:cxnSpMkLst>
        </pc:cxnChg>
        <pc:cxnChg chg="mod">
          <ac:chgData name="Daniel Cole" userId="f20a75f9320a1647" providerId="LiveId" clId="{42D3E951-AF5C-4164-98AB-2347A3B6E1E6}" dt="2024-03-21T19:50:17.287" v="19412" actId="1076"/>
          <ac:cxnSpMkLst>
            <pc:docMk/>
            <pc:sldMk cId="4081603858" sldId="263"/>
            <ac:cxnSpMk id="158" creationId="{60638D05-C868-0597-5599-7B8867F826B5}"/>
          </ac:cxnSpMkLst>
        </pc:cxnChg>
        <pc:cxnChg chg="add mod">
          <ac:chgData name="Daniel Cole" userId="f20a75f9320a1647" providerId="LiveId" clId="{42D3E951-AF5C-4164-98AB-2347A3B6E1E6}" dt="2024-03-21T19:50:17.287" v="19412" actId="1076"/>
          <ac:cxnSpMkLst>
            <pc:docMk/>
            <pc:sldMk cId="4081603858" sldId="263"/>
            <ac:cxnSpMk id="206" creationId="{0BDFAFD2-E7DB-B961-475C-E96BCD769D69}"/>
          </ac:cxnSpMkLst>
        </pc:cxnChg>
      </pc:sldChg>
      <pc:sldChg chg="delSp new del mod">
        <pc:chgData name="Daniel Cole" userId="f20a75f9320a1647" providerId="LiveId" clId="{42D3E951-AF5C-4164-98AB-2347A3B6E1E6}" dt="2024-03-18T23:00:26.747" v="2450" actId="47"/>
        <pc:sldMkLst>
          <pc:docMk/>
          <pc:sldMk cId="974560546" sldId="264"/>
        </pc:sldMkLst>
        <pc:spChg chg="del">
          <ac:chgData name="Daniel Cole" userId="f20a75f9320a1647" providerId="LiveId" clId="{42D3E951-AF5C-4164-98AB-2347A3B6E1E6}" dt="2024-03-18T23:00:08.141" v="2448" actId="478"/>
          <ac:spMkLst>
            <pc:docMk/>
            <pc:sldMk cId="974560546" sldId="264"/>
            <ac:spMk id="2" creationId="{8000F373-EBC5-E207-044E-A8A8EB215E6D}"/>
          </ac:spMkLst>
        </pc:spChg>
        <pc:spChg chg="del">
          <ac:chgData name="Daniel Cole" userId="f20a75f9320a1647" providerId="LiveId" clId="{42D3E951-AF5C-4164-98AB-2347A3B6E1E6}" dt="2024-03-18T23:00:08.141" v="2448" actId="478"/>
          <ac:spMkLst>
            <pc:docMk/>
            <pc:sldMk cId="974560546" sldId="264"/>
            <ac:spMk id="3" creationId="{430FCDA9-2509-2341-CF82-67DC1D279083}"/>
          </ac:spMkLst>
        </pc:spChg>
      </pc:sldChg>
      <pc:sldChg chg="addSp delSp modSp new mod">
        <pc:chgData name="Daniel Cole" userId="f20a75f9320a1647" providerId="LiveId" clId="{42D3E951-AF5C-4164-98AB-2347A3B6E1E6}" dt="2024-03-21T19:33:12.938" v="19321" actId="403"/>
        <pc:sldMkLst>
          <pc:docMk/>
          <pc:sldMk cId="3575838260" sldId="264"/>
        </pc:sldMkLst>
        <pc:spChg chg="add del mod ord">
          <ac:chgData name="Daniel Cole" userId="f20a75f9320a1647" providerId="LiveId" clId="{42D3E951-AF5C-4164-98AB-2347A3B6E1E6}" dt="2024-03-21T15:36:35.268" v="14866" actId="478"/>
          <ac:spMkLst>
            <pc:docMk/>
            <pc:sldMk cId="3575838260" sldId="264"/>
            <ac:spMk id="2" creationId="{BA763742-FA71-280F-ED8D-86BDD6FFD5CF}"/>
          </ac:spMkLst>
        </pc:spChg>
        <pc:spChg chg="add mod">
          <ac:chgData name="Daniel Cole" userId="f20a75f9320a1647" providerId="LiveId" clId="{42D3E951-AF5C-4164-98AB-2347A3B6E1E6}" dt="2024-03-21T19:33:12.938" v="19321" actId="403"/>
          <ac:spMkLst>
            <pc:docMk/>
            <pc:sldMk cId="3575838260" sldId="264"/>
            <ac:spMk id="3" creationId="{7D948A9D-0455-F08C-ED48-D93A4984FB5C}"/>
          </ac:spMkLst>
        </pc:spChg>
        <pc:spChg chg="add del mod ord">
          <ac:chgData name="Daniel Cole" userId="f20a75f9320a1647" providerId="LiveId" clId="{42D3E951-AF5C-4164-98AB-2347A3B6E1E6}" dt="2024-03-21T15:36:32.331" v="14865" actId="478"/>
          <ac:spMkLst>
            <pc:docMk/>
            <pc:sldMk cId="3575838260" sldId="264"/>
            <ac:spMk id="4" creationId="{95D1749A-3AD7-C8F4-71DD-9B5C22474296}"/>
          </ac:spMkLst>
        </pc:spChg>
        <pc:spChg chg="add del mod">
          <ac:chgData name="Daniel Cole" userId="f20a75f9320a1647" providerId="LiveId" clId="{42D3E951-AF5C-4164-98AB-2347A3B6E1E6}" dt="2024-03-19T20:49:38.360" v="5947" actId="478"/>
          <ac:spMkLst>
            <pc:docMk/>
            <pc:sldMk cId="3575838260" sldId="264"/>
            <ac:spMk id="4" creationId="{DCE8CEE6-4062-D0D8-27B3-0047F9627702}"/>
          </ac:spMkLst>
        </pc:spChg>
        <pc:spChg chg="add del mod ord">
          <ac:chgData name="Daniel Cole" userId="f20a75f9320a1647" providerId="LiveId" clId="{42D3E951-AF5C-4164-98AB-2347A3B6E1E6}" dt="2024-03-21T17:31:05.328" v="17228" actId="403"/>
          <ac:spMkLst>
            <pc:docMk/>
            <pc:sldMk cId="3575838260" sldId="264"/>
            <ac:spMk id="6" creationId="{6789AC29-CA0C-112C-8EB3-AE5254F00952}"/>
          </ac:spMkLst>
        </pc:spChg>
        <pc:spChg chg="mod">
          <ac:chgData name="Daniel Cole" userId="f20a75f9320a1647" providerId="LiveId" clId="{42D3E951-AF5C-4164-98AB-2347A3B6E1E6}" dt="2024-03-19T21:47:03.572" v="7342" actId="165"/>
          <ac:spMkLst>
            <pc:docMk/>
            <pc:sldMk cId="3575838260" sldId="264"/>
            <ac:spMk id="8" creationId="{56069B0A-529C-668F-E0E8-4C380E47B67E}"/>
          </ac:spMkLst>
        </pc:spChg>
        <pc:spChg chg="mod">
          <ac:chgData name="Daniel Cole" userId="f20a75f9320a1647" providerId="LiveId" clId="{42D3E951-AF5C-4164-98AB-2347A3B6E1E6}" dt="2024-03-19T21:47:03.572" v="7342" actId="165"/>
          <ac:spMkLst>
            <pc:docMk/>
            <pc:sldMk cId="3575838260" sldId="264"/>
            <ac:spMk id="11" creationId="{870618F8-869C-F7A6-0331-8C5FDE349A54}"/>
          </ac:spMkLst>
        </pc:spChg>
        <pc:spChg chg="mod">
          <ac:chgData name="Daniel Cole" userId="f20a75f9320a1647" providerId="LiveId" clId="{42D3E951-AF5C-4164-98AB-2347A3B6E1E6}" dt="2024-03-19T21:47:03.572" v="7342" actId="165"/>
          <ac:spMkLst>
            <pc:docMk/>
            <pc:sldMk cId="3575838260" sldId="264"/>
            <ac:spMk id="12" creationId="{97BFFA39-F48B-87FD-00F6-D789D3435E95}"/>
          </ac:spMkLst>
        </pc:spChg>
        <pc:spChg chg="mod">
          <ac:chgData name="Daniel Cole" userId="f20a75f9320a1647" providerId="LiveId" clId="{42D3E951-AF5C-4164-98AB-2347A3B6E1E6}" dt="2024-03-19T21:47:03.572" v="7342" actId="165"/>
          <ac:spMkLst>
            <pc:docMk/>
            <pc:sldMk cId="3575838260" sldId="264"/>
            <ac:spMk id="13" creationId="{F356E215-0664-2A12-6575-23F1BAD9B175}"/>
          </ac:spMkLst>
        </pc:spChg>
        <pc:spChg chg="add mod topLvl">
          <ac:chgData name="Daniel Cole" userId="f20a75f9320a1647" providerId="LiveId" clId="{42D3E951-AF5C-4164-98AB-2347A3B6E1E6}" dt="2024-03-19T22:10:13.742" v="7887" actId="164"/>
          <ac:spMkLst>
            <pc:docMk/>
            <pc:sldMk cId="3575838260" sldId="264"/>
            <ac:spMk id="14" creationId="{50E6D3C7-C1D0-3250-E547-71CA3BA1483F}"/>
          </ac:spMkLst>
        </pc:spChg>
        <pc:spChg chg="add mod topLvl">
          <ac:chgData name="Daniel Cole" userId="f20a75f9320a1647" providerId="LiveId" clId="{42D3E951-AF5C-4164-98AB-2347A3B6E1E6}" dt="2024-03-19T22:10:13.742" v="7887" actId="164"/>
          <ac:spMkLst>
            <pc:docMk/>
            <pc:sldMk cId="3575838260" sldId="264"/>
            <ac:spMk id="16" creationId="{EF23C6EB-C3FD-709E-E114-20F86D0586F2}"/>
          </ac:spMkLst>
        </pc:spChg>
        <pc:spChg chg="add mod topLvl">
          <ac:chgData name="Daniel Cole" userId="f20a75f9320a1647" providerId="LiveId" clId="{42D3E951-AF5C-4164-98AB-2347A3B6E1E6}" dt="2024-03-19T22:10:13.742" v="7887" actId="164"/>
          <ac:spMkLst>
            <pc:docMk/>
            <pc:sldMk cId="3575838260" sldId="264"/>
            <ac:spMk id="17" creationId="{0ED47C4A-5931-5C5A-EAD5-C3B5F57832BF}"/>
          </ac:spMkLst>
        </pc:spChg>
        <pc:spChg chg="mod">
          <ac:chgData name="Daniel Cole" userId="f20a75f9320a1647" providerId="LiveId" clId="{42D3E951-AF5C-4164-98AB-2347A3B6E1E6}" dt="2024-03-19T21:47:03.572" v="7342" actId="165"/>
          <ac:spMkLst>
            <pc:docMk/>
            <pc:sldMk cId="3575838260" sldId="264"/>
            <ac:spMk id="19" creationId="{A01F507C-AB22-CFCD-BF79-3D4549F67125}"/>
          </ac:spMkLst>
        </pc:spChg>
        <pc:spChg chg="mod">
          <ac:chgData name="Daniel Cole" userId="f20a75f9320a1647" providerId="LiveId" clId="{42D3E951-AF5C-4164-98AB-2347A3B6E1E6}" dt="2024-03-19T21:47:03.572" v="7342" actId="165"/>
          <ac:spMkLst>
            <pc:docMk/>
            <pc:sldMk cId="3575838260" sldId="264"/>
            <ac:spMk id="22" creationId="{52595C13-1A64-1E76-784F-578CE344CF42}"/>
          </ac:spMkLst>
        </pc:spChg>
        <pc:spChg chg="mod">
          <ac:chgData name="Daniel Cole" userId="f20a75f9320a1647" providerId="LiveId" clId="{42D3E951-AF5C-4164-98AB-2347A3B6E1E6}" dt="2024-03-19T21:47:03.572" v="7342" actId="165"/>
          <ac:spMkLst>
            <pc:docMk/>
            <pc:sldMk cId="3575838260" sldId="264"/>
            <ac:spMk id="23" creationId="{B9B25548-B280-AD13-70DE-F3E551A45EAF}"/>
          </ac:spMkLst>
        </pc:spChg>
        <pc:spChg chg="mod">
          <ac:chgData name="Daniel Cole" userId="f20a75f9320a1647" providerId="LiveId" clId="{42D3E951-AF5C-4164-98AB-2347A3B6E1E6}" dt="2024-03-19T21:47:03.572" v="7342" actId="165"/>
          <ac:spMkLst>
            <pc:docMk/>
            <pc:sldMk cId="3575838260" sldId="264"/>
            <ac:spMk id="24" creationId="{654F4306-9661-9266-6706-8F933C989C64}"/>
          </ac:spMkLst>
        </pc:spChg>
        <pc:spChg chg="mod">
          <ac:chgData name="Daniel Cole" userId="f20a75f9320a1647" providerId="LiveId" clId="{42D3E951-AF5C-4164-98AB-2347A3B6E1E6}" dt="2024-03-19T21:47:03.572" v="7342" actId="165"/>
          <ac:spMkLst>
            <pc:docMk/>
            <pc:sldMk cId="3575838260" sldId="264"/>
            <ac:spMk id="27" creationId="{05BF7C4F-2ED5-56F3-004E-70EAD88E6CAE}"/>
          </ac:spMkLst>
        </pc:spChg>
        <pc:spChg chg="mod">
          <ac:chgData name="Daniel Cole" userId="f20a75f9320a1647" providerId="LiveId" clId="{42D3E951-AF5C-4164-98AB-2347A3B6E1E6}" dt="2024-03-19T21:47:03.572" v="7342" actId="165"/>
          <ac:spMkLst>
            <pc:docMk/>
            <pc:sldMk cId="3575838260" sldId="264"/>
            <ac:spMk id="28" creationId="{283A12B3-0601-A955-EA58-20A8A2920D38}"/>
          </ac:spMkLst>
        </pc:spChg>
        <pc:spChg chg="mod">
          <ac:chgData name="Daniel Cole" userId="f20a75f9320a1647" providerId="LiveId" clId="{42D3E951-AF5C-4164-98AB-2347A3B6E1E6}" dt="2024-03-19T21:47:03.572" v="7342" actId="165"/>
          <ac:spMkLst>
            <pc:docMk/>
            <pc:sldMk cId="3575838260" sldId="264"/>
            <ac:spMk id="29" creationId="{71CD2F8B-9536-7E57-3841-04B8D418A595}"/>
          </ac:spMkLst>
        </pc:spChg>
        <pc:spChg chg="mod">
          <ac:chgData name="Daniel Cole" userId="f20a75f9320a1647" providerId="LiveId" clId="{42D3E951-AF5C-4164-98AB-2347A3B6E1E6}" dt="2024-03-19T21:47:03.572" v="7342" actId="165"/>
          <ac:spMkLst>
            <pc:docMk/>
            <pc:sldMk cId="3575838260" sldId="264"/>
            <ac:spMk id="32" creationId="{24F28DD3-BE49-2A19-DA62-16E237699212}"/>
          </ac:spMkLst>
        </pc:spChg>
        <pc:spChg chg="mod">
          <ac:chgData name="Daniel Cole" userId="f20a75f9320a1647" providerId="LiveId" clId="{42D3E951-AF5C-4164-98AB-2347A3B6E1E6}" dt="2024-03-19T21:47:03.572" v="7342" actId="165"/>
          <ac:spMkLst>
            <pc:docMk/>
            <pc:sldMk cId="3575838260" sldId="264"/>
            <ac:spMk id="33" creationId="{BC658910-8B00-2341-9B73-21FA26B9EDF6}"/>
          </ac:spMkLst>
        </pc:spChg>
        <pc:spChg chg="add mod">
          <ac:chgData name="Daniel Cole" userId="f20a75f9320a1647" providerId="LiveId" clId="{42D3E951-AF5C-4164-98AB-2347A3B6E1E6}" dt="2024-03-21T17:31:04.875" v="17227" actId="403"/>
          <ac:spMkLst>
            <pc:docMk/>
            <pc:sldMk cId="3575838260" sldId="264"/>
            <ac:spMk id="34" creationId="{AEB48A41-29B5-5EB0-EC2E-0AE63BC117B0}"/>
          </ac:spMkLst>
        </pc:spChg>
        <pc:spChg chg="add mod topLvl">
          <ac:chgData name="Daniel Cole" userId="f20a75f9320a1647" providerId="LiveId" clId="{42D3E951-AF5C-4164-98AB-2347A3B6E1E6}" dt="2024-03-19T22:10:13.742" v="7887" actId="164"/>
          <ac:spMkLst>
            <pc:docMk/>
            <pc:sldMk cId="3575838260" sldId="264"/>
            <ac:spMk id="37" creationId="{177AEBE8-4E51-663F-AE26-4991E2F13112}"/>
          </ac:spMkLst>
        </pc:spChg>
        <pc:spChg chg="add mod topLvl">
          <ac:chgData name="Daniel Cole" userId="f20a75f9320a1647" providerId="LiveId" clId="{42D3E951-AF5C-4164-98AB-2347A3B6E1E6}" dt="2024-03-19T22:10:13.742" v="7887" actId="164"/>
          <ac:spMkLst>
            <pc:docMk/>
            <pc:sldMk cId="3575838260" sldId="264"/>
            <ac:spMk id="38" creationId="{1A19BDA3-D1FB-5E93-3146-316D74952C75}"/>
          </ac:spMkLst>
        </pc:spChg>
        <pc:spChg chg="mod">
          <ac:chgData name="Daniel Cole" userId="f20a75f9320a1647" providerId="LiveId" clId="{42D3E951-AF5C-4164-98AB-2347A3B6E1E6}" dt="2024-03-19T21:47:03.572" v="7342" actId="165"/>
          <ac:spMkLst>
            <pc:docMk/>
            <pc:sldMk cId="3575838260" sldId="264"/>
            <ac:spMk id="41" creationId="{EBE3478B-79A0-238B-A2C4-99D209220C45}"/>
          </ac:spMkLst>
        </pc:spChg>
        <pc:spChg chg="mod">
          <ac:chgData name="Daniel Cole" userId="f20a75f9320a1647" providerId="LiveId" clId="{42D3E951-AF5C-4164-98AB-2347A3B6E1E6}" dt="2024-03-19T21:47:03.572" v="7342" actId="165"/>
          <ac:spMkLst>
            <pc:docMk/>
            <pc:sldMk cId="3575838260" sldId="264"/>
            <ac:spMk id="44" creationId="{3B55835D-7B7A-73FB-4056-1844A8DBA44A}"/>
          </ac:spMkLst>
        </pc:spChg>
        <pc:spChg chg="mod">
          <ac:chgData name="Daniel Cole" userId="f20a75f9320a1647" providerId="LiveId" clId="{42D3E951-AF5C-4164-98AB-2347A3B6E1E6}" dt="2024-03-19T21:47:03.572" v="7342" actId="165"/>
          <ac:spMkLst>
            <pc:docMk/>
            <pc:sldMk cId="3575838260" sldId="264"/>
            <ac:spMk id="45" creationId="{D6AD0DCF-1499-F232-20C2-8C41667CA551}"/>
          </ac:spMkLst>
        </pc:spChg>
        <pc:spChg chg="add mod topLvl">
          <ac:chgData name="Daniel Cole" userId="f20a75f9320a1647" providerId="LiveId" clId="{42D3E951-AF5C-4164-98AB-2347A3B6E1E6}" dt="2024-03-19T22:10:13.742" v="7887" actId="164"/>
          <ac:spMkLst>
            <pc:docMk/>
            <pc:sldMk cId="3575838260" sldId="264"/>
            <ac:spMk id="47" creationId="{4A5866BF-9BB8-A8B8-5F21-92F0723D0CA1}"/>
          </ac:spMkLst>
        </pc:spChg>
        <pc:spChg chg="add del mod">
          <ac:chgData name="Daniel Cole" userId="f20a75f9320a1647" providerId="LiveId" clId="{42D3E951-AF5C-4164-98AB-2347A3B6E1E6}" dt="2024-03-19T20:58:29.736" v="6061"/>
          <ac:spMkLst>
            <pc:docMk/>
            <pc:sldMk cId="3575838260" sldId="264"/>
            <ac:spMk id="48" creationId="{0CB11F43-8873-B197-62B3-7325386AF7D6}"/>
          </ac:spMkLst>
        </pc:spChg>
        <pc:spChg chg="add mod topLvl">
          <ac:chgData name="Daniel Cole" userId="f20a75f9320a1647" providerId="LiveId" clId="{42D3E951-AF5C-4164-98AB-2347A3B6E1E6}" dt="2024-03-19T22:10:13.742" v="7887" actId="164"/>
          <ac:spMkLst>
            <pc:docMk/>
            <pc:sldMk cId="3575838260" sldId="264"/>
            <ac:spMk id="49" creationId="{52B99391-0FA1-B110-42E2-B093231291B2}"/>
          </ac:spMkLst>
        </pc:spChg>
        <pc:spChg chg="add mod topLvl">
          <ac:chgData name="Daniel Cole" userId="f20a75f9320a1647" providerId="LiveId" clId="{42D3E951-AF5C-4164-98AB-2347A3B6E1E6}" dt="2024-03-19T22:10:23.317" v="7909" actId="164"/>
          <ac:spMkLst>
            <pc:docMk/>
            <pc:sldMk cId="3575838260" sldId="264"/>
            <ac:spMk id="50" creationId="{692A1A2F-C0DD-B441-62A8-F1C8278A8441}"/>
          </ac:spMkLst>
        </pc:spChg>
        <pc:spChg chg="mod">
          <ac:chgData name="Daniel Cole" userId="f20a75f9320a1647" providerId="LiveId" clId="{42D3E951-AF5C-4164-98AB-2347A3B6E1E6}" dt="2024-03-19T21:47:03.572" v="7342" actId="165"/>
          <ac:spMkLst>
            <pc:docMk/>
            <pc:sldMk cId="3575838260" sldId="264"/>
            <ac:spMk id="52" creationId="{65EB514C-58A9-F161-E217-03F1A61AA1A0}"/>
          </ac:spMkLst>
        </pc:spChg>
        <pc:spChg chg="mod">
          <ac:chgData name="Daniel Cole" userId="f20a75f9320a1647" providerId="LiveId" clId="{42D3E951-AF5C-4164-98AB-2347A3B6E1E6}" dt="2024-03-19T21:47:03.572" v="7342" actId="165"/>
          <ac:spMkLst>
            <pc:docMk/>
            <pc:sldMk cId="3575838260" sldId="264"/>
            <ac:spMk id="55" creationId="{6422A848-51CB-7FC6-2D86-E48640ACBA29}"/>
          </ac:spMkLst>
        </pc:spChg>
        <pc:spChg chg="mod">
          <ac:chgData name="Daniel Cole" userId="f20a75f9320a1647" providerId="LiveId" clId="{42D3E951-AF5C-4164-98AB-2347A3B6E1E6}" dt="2024-03-19T21:47:03.572" v="7342" actId="165"/>
          <ac:spMkLst>
            <pc:docMk/>
            <pc:sldMk cId="3575838260" sldId="264"/>
            <ac:spMk id="56" creationId="{F33DCF2E-BACF-DDC5-6812-27F299E46572}"/>
          </ac:spMkLst>
        </pc:spChg>
        <pc:spChg chg="add del mod">
          <ac:chgData name="Daniel Cole" userId="f20a75f9320a1647" providerId="LiveId" clId="{42D3E951-AF5C-4164-98AB-2347A3B6E1E6}" dt="2024-03-21T11:49:25.675" v="10875" actId="478"/>
          <ac:spMkLst>
            <pc:docMk/>
            <pc:sldMk cId="3575838260" sldId="264"/>
            <ac:spMk id="57" creationId="{73128AD3-A6A2-79A2-BE9B-B9FE826100CA}"/>
          </ac:spMkLst>
        </pc:spChg>
        <pc:spChg chg="add del mod">
          <ac:chgData name="Daniel Cole" userId="f20a75f9320a1647" providerId="LiveId" clId="{42D3E951-AF5C-4164-98AB-2347A3B6E1E6}" dt="2024-03-21T11:47:48.855" v="10800" actId="478"/>
          <ac:spMkLst>
            <pc:docMk/>
            <pc:sldMk cId="3575838260" sldId="264"/>
            <ac:spMk id="58" creationId="{4FB53583-1B0C-D1EB-7A84-451E7A365F0E}"/>
          </ac:spMkLst>
        </pc:spChg>
        <pc:spChg chg="add mod topLvl">
          <ac:chgData name="Daniel Cole" userId="f20a75f9320a1647" providerId="LiveId" clId="{42D3E951-AF5C-4164-98AB-2347A3B6E1E6}" dt="2024-03-19T22:10:13.742" v="7887" actId="164"/>
          <ac:spMkLst>
            <pc:docMk/>
            <pc:sldMk cId="3575838260" sldId="264"/>
            <ac:spMk id="59" creationId="{C3A18815-3339-BA28-A77F-FFA293CC5F21}"/>
          </ac:spMkLst>
        </pc:spChg>
        <pc:spChg chg="add mod topLvl">
          <ac:chgData name="Daniel Cole" userId="f20a75f9320a1647" providerId="LiveId" clId="{42D3E951-AF5C-4164-98AB-2347A3B6E1E6}" dt="2024-03-19T22:10:13.742" v="7887" actId="164"/>
          <ac:spMkLst>
            <pc:docMk/>
            <pc:sldMk cId="3575838260" sldId="264"/>
            <ac:spMk id="60" creationId="{5C0E94B1-3F9A-DFCF-FBA8-27810543D79F}"/>
          </ac:spMkLst>
        </pc:spChg>
        <pc:spChg chg="add mod">
          <ac:chgData name="Daniel Cole" userId="f20a75f9320a1647" providerId="LiveId" clId="{42D3E951-AF5C-4164-98AB-2347A3B6E1E6}" dt="2024-03-21T15:54:01.375" v="15144" actId="1076"/>
          <ac:spMkLst>
            <pc:docMk/>
            <pc:sldMk cId="3575838260" sldId="264"/>
            <ac:spMk id="61" creationId="{499DF00A-FE39-680F-9DBB-865474F0AE9C}"/>
          </ac:spMkLst>
        </pc:spChg>
        <pc:spChg chg="add del">
          <ac:chgData name="Daniel Cole" userId="f20a75f9320a1647" providerId="LiveId" clId="{42D3E951-AF5C-4164-98AB-2347A3B6E1E6}" dt="2024-03-19T21:08:46.329" v="6468" actId="478"/>
          <ac:spMkLst>
            <pc:docMk/>
            <pc:sldMk cId="3575838260" sldId="264"/>
            <ac:spMk id="62" creationId="{3A11FC46-766C-4DAA-7401-E7980A10925D}"/>
          </ac:spMkLst>
        </pc:spChg>
        <pc:spChg chg="add mod">
          <ac:chgData name="Daniel Cole" userId="f20a75f9320a1647" providerId="LiveId" clId="{42D3E951-AF5C-4164-98AB-2347A3B6E1E6}" dt="2024-03-21T15:53:20.907" v="15134" actId="1076"/>
          <ac:spMkLst>
            <pc:docMk/>
            <pc:sldMk cId="3575838260" sldId="264"/>
            <ac:spMk id="62" creationId="{ACED6F44-9F1C-1B85-0D7B-CCD25639E06E}"/>
          </ac:spMkLst>
        </pc:spChg>
        <pc:grpChg chg="add mod topLvl">
          <ac:chgData name="Daniel Cole" userId="f20a75f9320a1647" providerId="LiveId" clId="{42D3E951-AF5C-4164-98AB-2347A3B6E1E6}" dt="2024-03-19T22:10:13.742" v="7887" actId="164"/>
          <ac:grpSpMkLst>
            <pc:docMk/>
            <pc:sldMk cId="3575838260" sldId="264"/>
            <ac:grpSpMk id="7" creationId="{526CBF76-6D23-5718-8888-282DC80DE215}"/>
          </ac:grpSpMkLst>
        </pc:grpChg>
        <pc:grpChg chg="add mod topLvl">
          <ac:chgData name="Daniel Cole" userId="f20a75f9320a1647" providerId="LiveId" clId="{42D3E951-AF5C-4164-98AB-2347A3B6E1E6}" dt="2024-03-19T22:10:13.742" v="7887" actId="164"/>
          <ac:grpSpMkLst>
            <pc:docMk/>
            <pc:sldMk cId="3575838260" sldId="264"/>
            <ac:grpSpMk id="18" creationId="{C6F19EBE-DE9F-401A-DE71-438CBEC42F60}"/>
          </ac:grpSpMkLst>
        </pc:grpChg>
        <pc:grpChg chg="add mod topLvl">
          <ac:chgData name="Daniel Cole" userId="f20a75f9320a1647" providerId="LiveId" clId="{42D3E951-AF5C-4164-98AB-2347A3B6E1E6}" dt="2024-03-19T22:10:13.742" v="7887" actId="164"/>
          <ac:grpSpMkLst>
            <pc:docMk/>
            <pc:sldMk cId="3575838260" sldId="264"/>
            <ac:grpSpMk id="40" creationId="{516D61E4-A8A5-5947-779D-01CA46237723}"/>
          </ac:grpSpMkLst>
        </pc:grpChg>
        <pc:grpChg chg="add mod topLvl">
          <ac:chgData name="Daniel Cole" userId="f20a75f9320a1647" providerId="LiveId" clId="{42D3E951-AF5C-4164-98AB-2347A3B6E1E6}" dt="2024-03-19T22:10:13.742" v="7887" actId="164"/>
          <ac:grpSpMkLst>
            <pc:docMk/>
            <pc:sldMk cId="3575838260" sldId="264"/>
            <ac:grpSpMk id="51" creationId="{269B2C7B-D807-6200-442F-ACDABF883615}"/>
          </ac:grpSpMkLst>
        </pc:grpChg>
        <pc:grpChg chg="add del mod">
          <ac:chgData name="Daniel Cole" userId="f20a75f9320a1647" providerId="LiveId" clId="{42D3E951-AF5C-4164-98AB-2347A3B6E1E6}" dt="2024-03-19T21:47:03.572" v="7342" actId="165"/>
          <ac:grpSpMkLst>
            <pc:docMk/>
            <pc:sldMk cId="3575838260" sldId="264"/>
            <ac:grpSpMk id="75" creationId="{EA44B0BD-8774-04EF-AA81-4FE2F6AC8F0D}"/>
          </ac:grpSpMkLst>
        </pc:grpChg>
        <pc:grpChg chg="add mod">
          <ac:chgData name="Daniel Cole" userId="f20a75f9320a1647" providerId="LiveId" clId="{42D3E951-AF5C-4164-98AB-2347A3B6E1E6}" dt="2024-03-19T22:10:23.317" v="7909" actId="164"/>
          <ac:grpSpMkLst>
            <pc:docMk/>
            <pc:sldMk cId="3575838260" sldId="264"/>
            <ac:grpSpMk id="76" creationId="{33FBB6E7-2308-8C54-0722-7AC4F0B6E490}"/>
          </ac:grpSpMkLst>
        </pc:grpChg>
        <pc:grpChg chg="add del mod">
          <ac:chgData name="Daniel Cole" userId="f20a75f9320a1647" providerId="LiveId" clId="{42D3E951-AF5C-4164-98AB-2347A3B6E1E6}" dt="2024-03-21T10:33:31.887" v="9709" actId="478"/>
          <ac:grpSpMkLst>
            <pc:docMk/>
            <pc:sldMk cId="3575838260" sldId="264"/>
            <ac:grpSpMk id="77" creationId="{2914BB59-3E22-EC82-9F02-EE658C2E1A22}"/>
          </ac:grpSpMkLst>
        </pc:grpChg>
        <pc:graphicFrameChg chg="add mod">
          <ac:chgData name="Daniel Cole" userId="f20a75f9320a1647" providerId="LiveId" clId="{42D3E951-AF5C-4164-98AB-2347A3B6E1E6}" dt="2024-03-21T11:55:20.075" v="11016"/>
          <ac:graphicFrameMkLst>
            <pc:docMk/>
            <pc:sldMk cId="3575838260" sldId="264"/>
            <ac:graphicFrameMk id="5" creationId="{07FD346C-981B-3788-AB6E-B7098F057B76}"/>
          </ac:graphicFrameMkLst>
        </pc:graphicFrameChg>
        <pc:graphicFrameChg chg="add del mod">
          <ac:chgData name="Daniel Cole" userId="f20a75f9320a1647" providerId="LiveId" clId="{42D3E951-AF5C-4164-98AB-2347A3B6E1E6}" dt="2024-03-21T11:21:43.399" v="10322" actId="478"/>
          <ac:graphicFrameMkLst>
            <pc:docMk/>
            <pc:sldMk cId="3575838260" sldId="264"/>
            <ac:graphicFrameMk id="35" creationId="{1E7448DC-B9E3-CE75-80F1-A9C62E2DB298}"/>
          </ac:graphicFrameMkLst>
        </pc:graphicFrameChg>
        <pc:graphicFrameChg chg="add mod">
          <ac:chgData name="Daniel Cole" userId="f20a75f9320a1647" providerId="LiveId" clId="{42D3E951-AF5C-4164-98AB-2347A3B6E1E6}" dt="2024-03-21T17:30:21.129" v="17224"/>
          <ac:graphicFrameMkLst>
            <pc:docMk/>
            <pc:sldMk cId="3575838260" sldId="264"/>
            <ac:graphicFrameMk id="46" creationId="{1CEDECF8-0B20-F51B-5F64-F48F915C1EBF}"/>
          </ac:graphicFrameMkLst>
        </pc:graphicFrameChg>
        <pc:graphicFrameChg chg="add mod">
          <ac:chgData name="Daniel Cole" userId="f20a75f9320a1647" providerId="LiveId" clId="{42D3E951-AF5C-4164-98AB-2347A3B6E1E6}" dt="2024-03-21T11:37:18.894" v="10484"/>
          <ac:graphicFrameMkLst>
            <pc:docMk/>
            <pc:sldMk cId="3575838260" sldId="264"/>
            <ac:graphicFrameMk id="48" creationId="{1AD4B5BD-F44F-0736-88AB-E253B56D6339}"/>
          </ac:graphicFrameMkLst>
        </pc:graphicFrameChg>
        <pc:picChg chg="add del mod">
          <ac:chgData name="Daniel Cole" userId="f20a75f9320a1647" providerId="LiveId" clId="{42D3E951-AF5C-4164-98AB-2347A3B6E1E6}" dt="2024-03-19T20:56:02.911" v="5989" actId="478"/>
          <ac:picMkLst>
            <pc:docMk/>
            <pc:sldMk cId="3575838260" sldId="264"/>
            <ac:picMk id="2" creationId="{BAABB12C-B367-50AC-CA6B-0B83C756B40F}"/>
          </ac:picMkLst>
        </pc:picChg>
        <pc:picChg chg="mod">
          <ac:chgData name="Daniel Cole" userId="f20a75f9320a1647" providerId="LiveId" clId="{42D3E951-AF5C-4164-98AB-2347A3B6E1E6}" dt="2024-03-19T21:47:03.572" v="7342" actId="165"/>
          <ac:picMkLst>
            <pc:docMk/>
            <pc:sldMk cId="3575838260" sldId="264"/>
            <ac:picMk id="9" creationId="{1AB99E88-BE51-5342-E5AF-E4DB7E51A70F}"/>
          </ac:picMkLst>
        </pc:picChg>
        <pc:picChg chg="mod">
          <ac:chgData name="Daniel Cole" userId="f20a75f9320a1647" providerId="LiveId" clId="{42D3E951-AF5C-4164-98AB-2347A3B6E1E6}" dt="2024-03-19T21:47:03.572" v="7342" actId="165"/>
          <ac:picMkLst>
            <pc:docMk/>
            <pc:sldMk cId="3575838260" sldId="264"/>
            <ac:picMk id="10" creationId="{F273D06C-8A15-67BF-8441-543734003E11}"/>
          </ac:picMkLst>
        </pc:picChg>
        <pc:picChg chg="add mod topLvl">
          <ac:chgData name="Daniel Cole" userId="f20a75f9320a1647" providerId="LiveId" clId="{42D3E951-AF5C-4164-98AB-2347A3B6E1E6}" dt="2024-03-19T22:10:13.742" v="7887" actId="164"/>
          <ac:picMkLst>
            <pc:docMk/>
            <pc:sldMk cId="3575838260" sldId="264"/>
            <ac:picMk id="15" creationId="{B2FBCA13-B3AC-205B-AFF9-78FAEF7C9AC0}"/>
          </ac:picMkLst>
        </pc:picChg>
        <pc:picChg chg="mod">
          <ac:chgData name="Daniel Cole" userId="f20a75f9320a1647" providerId="LiveId" clId="{42D3E951-AF5C-4164-98AB-2347A3B6E1E6}" dt="2024-03-19T21:47:03.572" v="7342" actId="165"/>
          <ac:picMkLst>
            <pc:docMk/>
            <pc:sldMk cId="3575838260" sldId="264"/>
            <ac:picMk id="20" creationId="{BF4C356C-A516-7A06-6FDA-C614986C776D}"/>
          </ac:picMkLst>
        </pc:picChg>
        <pc:picChg chg="mod">
          <ac:chgData name="Daniel Cole" userId="f20a75f9320a1647" providerId="LiveId" clId="{42D3E951-AF5C-4164-98AB-2347A3B6E1E6}" dt="2024-03-19T21:47:03.572" v="7342" actId="165"/>
          <ac:picMkLst>
            <pc:docMk/>
            <pc:sldMk cId="3575838260" sldId="264"/>
            <ac:picMk id="21" creationId="{E5A58ECC-4A7E-9A1E-3CCA-D4DEB7C41643}"/>
          </ac:picMkLst>
        </pc:picChg>
        <pc:picChg chg="mod">
          <ac:chgData name="Daniel Cole" userId="f20a75f9320a1647" providerId="LiveId" clId="{42D3E951-AF5C-4164-98AB-2347A3B6E1E6}" dt="2024-03-19T21:47:03.572" v="7342" actId="165"/>
          <ac:picMkLst>
            <pc:docMk/>
            <pc:sldMk cId="3575838260" sldId="264"/>
            <ac:picMk id="25" creationId="{FA4CC126-61BA-60E2-6115-2DE97356685C}"/>
          </ac:picMkLst>
        </pc:picChg>
        <pc:picChg chg="mod">
          <ac:chgData name="Daniel Cole" userId="f20a75f9320a1647" providerId="LiveId" clId="{42D3E951-AF5C-4164-98AB-2347A3B6E1E6}" dt="2024-03-19T21:47:03.572" v="7342" actId="165"/>
          <ac:picMkLst>
            <pc:docMk/>
            <pc:sldMk cId="3575838260" sldId="264"/>
            <ac:picMk id="26" creationId="{F681FD92-6238-9034-A656-031FFF289869}"/>
          </ac:picMkLst>
        </pc:picChg>
        <pc:picChg chg="mod">
          <ac:chgData name="Daniel Cole" userId="f20a75f9320a1647" providerId="LiveId" clId="{42D3E951-AF5C-4164-98AB-2347A3B6E1E6}" dt="2024-03-19T21:47:03.572" v="7342" actId="165"/>
          <ac:picMkLst>
            <pc:docMk/>
            <pc:sldMk cId="3575838260" sldId="264"/>
            <ac:picMk id="30" creationId="{78227DA9-3A36-293C-BC56-4FED45A690B2}"/>
          </ac:picMkLst>
        </pc:picChg>
        <pc:picChg chg="mod">
          <ac:chgData name="Daniel Cole" userId="f20a75f9320a1647" providerId="LiveId" clId="{42D3E951-AF5C-4164-98AB-2347A3B6E1E6}" dt="2024-03-19T21:47:03.572" v="7342" actId="165"/>
          <ac:picMkLst>
            <pc:docMk/>
            <pc:sldMk cId="3575838260" sldId="264"/>
            <ac:picMk id="31" creationId="{E832875E-E082-CE9D-C151-C7234D152688}"/>
          </ac:picMkLst>
        </pc:picChg>
        <pc:picChg chg="del mod">
          <ac:chgData name="Daniel Cole" userId="f20a75f9320a1647" providerId="LiveId" clId="{42D3E951-AF5C-4164-98AB-2347A3B6E1E6}" dt="2024-03-19T21:06:48.892" v="6463" actId="478"/>
          <ac:picMkLst>
            <pc:docMk/>
            <pc:sldMk cId="3575838260" sldId="264"/>
            <ac:picMk id="34" creationId="{5AC02B61-F7E5-C8D0-0545-9802249E91BF}"/>
          </ac:picMkLst>
        </pc:picChg>
        <pc:picChg chg="del mod">
          <ac:chgData name="Daniel Cole" userId="f20a75f9320a1647" providerId="LiveId" clId="{42D3E951-AF5C-4164-98AB-2347A3B6E1E6}" dt="2024-03-19T21:06:56.466" v="6465" actId="478"/>
          <ac:picMkLst>
            <pc:docMk/>
            <pc:sldMk cId="3575838260" sldId="264"/>
            <ac:picMk id="35" creationId="{7E251942-920B-EC05-42FA-AA47338C3A05}"/>
          </ac:picMkLst>
        </pc:picChg>
        <pc:picChg chg="del mod">
          <ac:chgData name="Daniel Cole" userId="f20a75f9320a1647" providerId="LiveId" clId="{42D3E951-AF5C-4164-98AB-2347A3B6E1E6}" dt="2024-03-19T21:06:52.604" v="6464" actId="478"/>
          <ac:picMkLst>
            <pc:docMk/>
            <pc:sldMk cId="3575838260" sldId="264"/>
            <ac:picMk id="36" creationId="{B2869E3C-D49C-469E-3825-8DD1D7F807B7}"/>
          </ac:picMkLst>
        </pc:picChg>
        <pc:picChg chg="add del mod">
          <ac:chgData name="Daniel Cole" userId="f20a75f9320a1647" providerId="LiveId" clId="{42D3E951-AF5C-4164-98AB-2347A3B6E1E6}" dt="2024-03-19T21:06:28.931" v="6458" actId="478"/>
          <ac:picMkLst>
            <pc:docMk/>
            <pc:sldMk cId="3575838260" sldId="264"/>
            <ac:picMk id="39" creationId="{51F15476-01B9-16F9-1396-71BC039BEB25}"/>
          </ac:picMkLst>
        </pc:picChg>
        <pc:picChg chg="mod">
          <ac:chgData name="Daniel Cole" userId="f20a75f9320a1647" providerId="LiveId" clId="{42D3E951-AF5C-4164-98AB-2347A3B6E1E6}" dt="2024-03-19T21:47:03.572" v="7342" actId="165"/>
          <ac:picMkLst>
            <pc:docMk/>
            <pc:sldMk cId="3575838260" sldId="264"/>
            <ac:picMk id="42" creationId="{337B4FFF-6381-C4BB-ABC2-B4B700B9B636}"/>
          </ac:picMkLst>
        </pc:picChg>
        <pc:picChg chg="mod">
          <ac:chgData name="Daniel Cole" userId="f20a75f9320a1647" providerId="LiveId" clId="{42D3E951-AF5C-4164-98AB-2347A3B6E1E6}" dt="2024-03-19T21:47:03.572" v="7342" actId="165"/>
          <ac:picMkLst>
            <pc:docMk/>
            <pc:sldMk cId="3575838260" sldId="264"/>
            <ac:picMk id="43" creationId="{8CA5DC14-8657-0F40-8743-6E35A5E4F6EF}"/>
          </ac:picMkLst>
        </pc:picChg>
        <pc:picChg chg="add del mod">
          <ac:chgData name="Daniel Cole" userId="f20a75f9320a1647" providerId="LiveId" clId="{42D3E951-AF5C-4164-98AB-2347A3B6E1E6}" dt="2024-03-19T21:06:45.444" v="6462" actId="478"/>
          <ac:picMkLst>
            <pc:docMk/>
            <pc:sldMk cId="3575838260" sldId="264"/>
            <ac:picMk id="46" creationId="{60AD0732-537E-BB60-21B0-85C5249EF304}"/>
          </ac:picMkLst>
        </pc:picChg>
        <pc:picChg chg="mod">
          <ac:chgData name="Daniel Cole" userId="f20a75f9320a1647" providerId="LiveId" clId="{42D3E951-AF5C-4164-98AB-2347A3B6E1E6}" dt="2024-03-19T21:47:03.572" v="7342" actId="165"/>
          <ac:picMkLst>
            <pc:docMk/>
            <pc:sldMk cId="3575838260" sldId="264"/>
            <ac:picMk id="53" creationId="{7B6239EB-158A-E72B-CEB5-F9EB1FAD78A2}"/>
          </ac:picMkLst>
        </pc:picChg>
        <pc:picChg chg="mod">
          <ac:chgData name="Daniel Cole" userId="f20a75f9320a1647" providerId="LiveId" clId="{42D3E951-AF5C-4164-98AB-2347A3B6E1E6}" dt="2024-03-19T21:47:03.572" v="7342" actId="165"/>
          <ac:picMkLst>
            <pc:docMk/>
            <pc:sldMk cId="3575838260" sldId="264"/>
            <ac:picMk id="54" creationId="{83006969-AAC8-ECAF-D28B-F5070BCF6E5C}"/>
          </ac:picMkLst>
        </pc:picChg>
        <pc:picChg chg="del mod">
          <ac:chgData name="Daniel Cole" userId="f20a75f9320a1647" providerId="LiveId" clId="{42D3E951-AF5C-4164-98AB-2347A3B6E1E6}" dt="2024-03-19T21:06:34.651" v="6459" actId="478"/>
          <ac:picMkLst>
            <pc:docMk/>
            <pc:sldMk cId="3575838260" sldId="264"/>
            <ac:picMk id="57" creationId="{5A865F12-A9D9-BAEE-53E4-9F2A5B8A6144}"/>
          </ac:picMkLst>
        </pc:picChg>
        <pc:picChg chg="add mod topLvl">
          <ac:chgData name="Daniel Cole" userId="f20a75f9320a1647" providerId="LiveId" clId="{42D3E951-AF5C-4164-98AB-2347A3B6E1E6}" dt="2024-03-19T23:26:18.003" v="8000" actId="14100"/>
          <ac:picMkLst>
            <pc:docMk/>
            <pc:sldMk cId="3575838260" sldId="264"/>
            <ac:picMk id="64" creationId="{000E8D33-3D2E-A4BD-9CC0-8D97C56D3CAD}"/>
          </ac:picMkLst>
        </pc:picChg>
        <pc:picChg chg="add mod topLvl">
          <ac:chgData name="Daniel Cole" userId="f20a75f9320a1647" providerId="LiveId" clId="{42D3E951-AF5C-4164-98AB-2347A3B6E1E6}" dt="2024-03-19T23:26:29.668" v="8004" actId="1038"/>
          <ac:picMkLst>
            <pc:docMk/>
            <pc:sldMk cId="3575838260" sldId="264"/>
            <ac:picMk id="66" creationId="{FF4EEBE4-8B00-76B4-9291-B3E0C2E14A67}"/>
          </ac:picMkLst>
        </pc:picChg>
        <pc:picChg chg="add mod topLvl">
          <ac:chgData name="Daniel Cole" userId="f20a75f9320a1647" providerId="LiveId" clId="{42D3E951-AF5C-4164-98AB-2347A3B6E1E6}" dt="2024-03-19T23:26:18.003" v="8000" actId="14100"/>
          <ac:picMkLst>
            <pc:docMk/>
            <pc:sldMk cId="3575838260" sldId="264"/>
            <ac:picMk id="68" creationId="{92426E3A-61D4-8CB7-A89D-C5927C76DBD9}"/>
          </ac:picMkLst>
        </pc:picChg>
        <pc:picChg chg="add mod topLvl">
          <ac:chgData name="Daniel Cole" userId="f20a75f9320a1647" providerId="LiveId" clId="{42D3E951-AF5C-4164-98AB-2347A3B6E1E6}" dt="2024-03-19T23:26:18.003" v="8000" actId="14100"/>
          <ac:picMkLst>
            <pc:docMk/>
            <pc:sldMk cId="3575838260" sldId="264"/>
            <ac:picMk id="70" creationId="{92C309F9-13BA-5385-2B63-78ADA1D39025}"/>
          </ac:picMkLst>
        </pc:picChg>
        <pc:picChg chg="add mod topLvl">
          <ac:chgData name="Daniel Cole" userId="f20a75f9320a1647" providerId="LiveId" clId="{42D3E951-AF5C-4164-98AB-2347A3B6E1E6}" dt="2024-03-19T23:26:18.003" v="8000" actId="14100"/>
          <ac:picMkLst>
            <pc:docMk/>
            <pc:sldMk cId="3575838260" sldId="264"/>
            <ac:picMk id="72" creationId="{F69B12C3-60D1-D2CD-7E06-0432EECE724B}"/>
          </ac:picMkLst>
        </pc:picChg>
        <pc:picChg chg="add mod topLvl">
          <ac:chgData name="Daniel Cole" userId="f20a75f9320a1647" providerId="LiveId" clId="{42D3E951-AF5C-4164-98AB-2347A3B6E1E6}" dt="2024-03-19T23:26:18.003" v="8000" actId="14100"/>
          <ac:picMkLst>
            <pc:docMk/>
            <pc:sldMk cId="3575838260" sldId="264"/>
            <ac:picMk id="74" creationId="{03BB55A3-0764-ADDA-3301-B6016917C084}"/>
          </ac:picMkLst>
        </pc:picChg>
      </pc:sldChg>
      <pc:sldChg chg="modSp add del mod ord">
        <pc:chgData name="Daniel Cole" userId="f20a75f9320a1647" providerId="LiveId" clId="{42D3E951-AF5C-4164-98AB-2347A3B6E1E6}" dt="2024-03-21T13:11:43.861" v="12794" actId="47"/>
        <pc:sldMkLst>
          <pc:docMk/>
          <pc:sldMk cId="2407587973" sldId="265"/>
        </pc:sldMkLst>
        <pc:spChg chg="mod">
          <ac:chgData name="Daniel Cole" userId="f20a75f9320a1647" providerId="LiveId" clId="{42D3E951-AF5C-4164-98AB-2347A3B6E1E6}" dt="2024-03-21T11:59:13.336" v="11054" actId="20577"/>
          <ac:spMkLst>
            <pc:docMk/>
            <pc:sldMk cId="2407587973" sldId="265"/>
            <ac:spMk id="3" creationId="{7D948A9D-0455-F08C-ED48-D93A4984FB5C}"/>
          </ac:spMkLst>
        </pc:spChg>
      </pc:sldChg>
      <pc:sldChg chg="addSp delSp modSp new del mod">
        <pc:chgData name="Daniel Cole" userId="f20a75f9320a1647" providerId="LiveId" clId="{42D3E951-AF5C-4164-98AB-2347A3B6E1E6}" dt="2024-03-21T14:17:57.764" v="13272" actId="47"/>
        <pc:sldMkLst>
          <pc:docMk/>
          <pc:sldMk cId="2813493279" sldId="265"/>
        </pc:sldMkLst>
        <pc:spChg chg="add del mod">
          <ac:chgData name="Daniel Cole" userId="f20a75f9320a1647" providerId="LiveId" clId="{42D3E951-AF5C-4164-98AB-2347A3B6E1E6}" dt="2024-03-21T14:12:34.751" v="13267" actId="21"/>
          <ac:spMkLst>
            <pc:docMk/>
            <pc:sldMk cId="2813493279" sldId="265"/>
            <ac:spMk id="2" creationId="{A141CF42-0372-9C5E-EBB2-D7B61A0DB3F2}"/>
          </ac:spMkLst>
        </pc:spChg>
        <pc:spChg chg="add del mod">
          <ac:chgData name="Daniel Cole" userId="f20a75f9320a1647" providerId="LiveId" clId="{42D3E951-AF5C-4164-98AB-2347A3B6E1E6}" dt="2024-03-21T14:03:14.183" v="13024" actId="478"/>
          <ac:spMkLst>
            <pc:docMk/>
            <pc:sldMk cId="2813493279" sldId="265"/>
            <ac:spMk id="4" creationId="{D7FA1545-BC3F-9EE4-B246-552183F24146}"/>
          </ac:spMkLst>
        </pc:spChg>
        <pc:spChg chg="add del mod">
          <ac:chgData name="Daniel Cole" userId="f20a75f9320a1647" providerId="LiveId" clId="{42D3E951-AF5C-4164-98AB-2347A3B6E1E6}" dt="2024-03-21T14:17:55.881" v="13271" actId="21"/>
          <ac:spMkLst>
            <pc:docMk/>
            <pc:sldMk cId="2813493279" sldId="265"/>
            <ac:spMk id="5" creationId="{8100FCB2-6479-7C91-E011-6E5B42C827DB}"/>
          </ac:spMkLst>
        </pc:spChg>
      </pc:sldChg>
      <pc:sldChg chg="addSp delSp modSp new del mod ord">
        <pc:chgData name="Daniel Cole" userId="f20a75f9320a1647" providerId="LiveId" clId="{42D3E951-AF5C-4164-98AB-2347A3B6E1E6}" dt="2024-04-01T19:31:47.862" v="37761" actId="47"/>
        <pc:sldMkLst>
          <pc:docMk/>
          <pc:sldMk cId="2319045226" sldId="266"/>
        </pc:sldMkLst>
        <pc:spChg chg="add mod">
          <ac:chgData name="Daniel Cole" userId="f20a75f9320a1647" providerId="LiveId" clId="{42D3E951-AF5C-4164-98AB-2347A3B6E1E6}" dt="2024-03-21T14:12:42.817" v="13269"/>
          <ac:spMkLst>
            <pc:docMk/>
            <pc:sldMk cId="2319045226" sldId="266"/>
            <ac:spMk id="2" creationId="{B5B540E1-3005-FF6B-4013-3099DE3F3E61}"/>
          </ac:spMkLst>
        </pc:spChg>
        <pc:spChg chg="mod">
          <ac:chgData name="Daniel Cole" userId="f20a75f9320a1647" providerId="LiveId" clId="{42D3E951-AF5C-4164-98AB-2347A3B6E1E6}" dt="2024-03-21T15:46:27.325" v="15014"/>
          <ac:spMkLst>
            <pc:docMk/>
            <pc:sldMk cId="2319045226" sldId="266"/>
            <ac:spMk id="4" creationId="{6597086B-69E8-B353-DED4-A274F0357223}"/>
          </ac:spMkLst>
        </pc:spChg>
        <pc:spChg chg="add">
          <ac:chgData name="Daniel Cole" userId="f20a75f9320a1647" providerId="LiveId" clId="{42D3E951-AF5C-4164-98AB-2347A3B6E1E6}" dt="2024-04-01T02:30:31.750" v="37546" actId="22"/>
          <ac:spMkLst>
            <pc:docMk/>
            <pc:sldMk cId="2319045226" sldId="266"/>
            <ac:spMk id="4" creationId="{68867A54-DEFE-1F1C-A32B-D3E186DF8993}"/>
          </ac:spMkLst>
        </pc:spChg>
        <pc:spChg chg="mod">
          <ac:chgData name="Daniel Cole" userId="f20a75f9320a1647" providerId="LiveId" clId="{42D3E951-AF5C-4164-98AB-2347A3B6E1E6}" dt="2024-03-21T15:46:27.325" v="15014"/>
          <ac:spMkLst>
            <pc:docMk/>
            <pc:sldMk cId="2319045226" sldId="266"/>
            <ac:spMk id="5" creationId="{1A0E4117-A6E9-5EAB-2884-E1E44A9E676C}"/>
          </ac:spMkLst>
        </pc:spChg>
        <pc:grpChg chg="add del mod">
          <ac:chgData name="Daniel Cole" userId="f20a75f9320a1647" providerId="LiveId" clId="{42D3E951-AF5C-4164-98AB-2347A3B6E1E6}" dt="2024-03-21T15:46:49.193" v="15016" actId="478"/>
          <ac:grpSpMkLst>
            <pc:docMk/>
            <pc:sldMk cId="2319045226" sldId="266"/>
            <ac:grpSpMk id="3" creationId="{161EA333-0B94-9F53-D370-A6E3FA0E9C25}"/>
          </ac:grpSpMkLst>
        </pc:grpChg>
      </pc:sldChg>
      <pc:sldChg chg="addSp delSp modSp add mod">
        <pc:chgData name="Daniel Cole" userId="f20a75f9320a1647" providerId="LiveId" clId="{42D3E951-AF5C-4164-98AB-2347A3B6E1E6}" dt="2024-04-03T19:53:39.501" v="37834" actId="20577"/>
        <pc:sldMkLst>
          <pc:docMk/>
          <pc:sldMk cId="0" sldId="293"/>
        </pc:sldMkLst>
        <pc:spChg chg="add del mod">
          <ac:chgData name="Daniel Cole" userId="f20a75f9320a1647" providerId="LiveId" clId="{42D3E951-AF5C-4164-98AB-2347A3B6E1E6}" dt="2024-03-31T19:40:36.928" v="30253" actId="478"/>
          <ac:spMkLst>
            <pc:docMk/>
            <pc:sldMk cId="0" sldId="293"/>
            <ac:spMk id="2" creationId="{31442018-AF61-9385-17FB-1A7B1CCB834C}"/>
          </ac:spMkLst>
        </pc:spChg>
        <pc:spChg chg="add del mod">
          <ac:chgData name="Daniel Cole" userId="f20a75f9320a1647" providerId="LiveId" clId="{42D3E951-AF5C-4164-98AB-2347A3B6E1E6}" dt="2024-03-31T19:40:36.928" v="30253" actId="478"/>
          <ac:spMkLst>
            <pc:docMk/>
            <pc:sldMk cId="0" sldId="293"/>
            <ac:spMk id="3" creationId="{B4E41FB2-AF60-DA79-3F97-0A4C3341C152}"/>
          </ac:spMkLst>
        </pc:spChg>
        <pc:spChg chg="add del mod">
          <ac:chgData name="Daniel Cole" userId="f20a75f9320a1647" providerId="LiveId" clId="{42D3E951-AF5C-4164-98AB-2347A3B6E1E6}" dt="2024-03-31T19:40:36.928" v="30253" actId="478"/>
          <ac:spMkLst>
            <pc:docMk/>
            <pc:sldMk cId="0" sldId="293"/>
            <ac:spMk id="4" creationId="{8D8945B3-93A8-7036-4815-A2EEEBC4A344}"/>
          </ac:spMkLst>
        </pc:spChg>
        <pc:spChg chg="add del mod">
          <ac:chgData name="Daniel Cole" userId="f20a75f9320a1647" providerId="LiveId" clId="{42D3E951-AF5C-4164-98AB-2347A3B6E1E6}" dt="2024-03-31T18:51:21.722" v="29677" actId="478"/>
          <ac:spMkLst>
            <pc:docMk/>
            <pc:sldMk cId="0" sldId="293"/>
            <ac:spMk id="5" creationId="{14224CBF-0FD6-5276-51FF-DD9E54A2763F}"/>
          </ac:spMkLst>
        </pc:spChg>
        <pc:spChg chg="add mod">
          <ac:chgData name="Daniel Cole" userId="f20a75f9320a1647" providerId="LiveId" clId="{42D3E951-AF5C-4164-98AB-2347A3B6E1E6}" dt="2024-03-31T19:43:00.595" v="30342" actId="12788"/>
          <ac:spMkLst>
            <pc:docMk/>
            <pc:sldMk cId="0" sldId="293"/>
            <ac:spMk id="5" creationId="{416191F3-FE57-0470-467C-59F12F463E16}"/>
          </ac:spMkLst>
        </pc:spChg>
        <pc:spChg chg="add mod">
          <ac:chgData name="Daniel Cole" userId="f20a75f9320a1647" providerId="LiveId" clId="{42D3E951-AF5C-4164-98AB-2347A3B6E1E6}" dt="2024-03-31T21:16:51.134" v="33692" actId="14100"/>
          <ac:spMkLst>
            <pc:docMk/>
            <pc:sldMk cId="0" sldId="293"/>
            <ac:spMk id="6" creationId="{5175E2A0-D907-502A-F59D-A95EB295F4FE}"/>
          </ac:spMkLst>
        </pc:spChg>
        <pc:spChg chg="mod">
          <ac:chgData name="Daniel Cole" userId="f20a75f9320a1647" providerId="LiveId" clId="{42D3E951-AF5C-4164-98AB-2347A3B6E1E6}" dt="2024-03-31T17:55:05.635" v="28592" actId="1038"/>
          <ac:spMkLst>
            <pc:docMk/>
            <pc:sldMk cId="0" sldId="293"/>
            <ac:spMk id="7" creationId="{00000000-0000-0000-0000-000000000000}"/>
          </ac:spMkLst>
        </pc:spChg>
        <pc:spChg chg="del">
          <ac:chgData name="Daniel Cole" userId="f20a75f9320a1647" providerId="LiveId" clId="{42D3E951-AF5C-4164-98AB-2347A3B6E1E6}" dt="2024-03-30T21:21:51.217" v="21407" actId="478"/>
          <ac:spMkLst>
            <pc:docMk/>
            <pc:sldMk cId="0" sldId="293"/>
            <ac:spMk id="8" creationId="{00000000-0000-0000-0000-000000000000}"/>
          </ac:spMkLst>
        </pc:spChg>
        <pc:spChg chg="add mod">
          <ac:chgData name="Daniel Cole" userId="f20a75f9320a1647" providerId="LiveId" clId="{42D3E951-AF5C-4164-98AB-2347A3B6E1E6}" dt="2024-03-31T21:16:51.134" v="33692" actId="14100"/>
          <ac:spMkLst>
            <pc:docMk/>
            <pc:sldMk cId="0" sldId="293"/>
            <ac:spMk id="8" creationId="{20745295-0E11-BBAA-5BF4-F3D06EFE3CE9}"/>
          </ac:spMkLst>
        </pc:spChg>
        <pc:spChg chg="del">
          <ac:chgData name="Daniel Cole" userId="f20a75f9320a1647" providerId="LiveId" clId="{42D3E951-AF5C-4164-98AB-2347A3B6E1E6}" dt="2024-03-30T21:21:51.217" v="21407" actId="478"/>
          <ac:spMkLst>
            <pc:docMk/>
            <pc:sldMk cId="0" sldId="293"/>
            <ac:spMk id="9" creationId="{00000000-0000-0000-0000-000000000000}"/>
          </ac:spMkLst>
        </pc:spChg>
        <pc:spChg chg="add mod">
          <ac:chgData name="Daniel Cole" userId="f20a75f9320a1647" providerId="LiveId" clId="{42D3E951-AF5C-4164-98AB-2347A3B6E1E6}" dt="2024-04-03T19:52:44.530" v="37832" actId="20577"/>
          <ac:spMkLst>
            <pc:docMk/>
            <pc:sldMk cId="0" sldId="293"/>
            <ac:spMk id="9" creationId="{B159BDFE-CA1B-0D45-8787-6A3C4D1D277A}"/>
          </ac:spMkLst>
        </pc:spChg>
        <pc:spChg chg="mod">
          <ac:chgData name="Daniel Cole" userId="f20a75f9320a1647" providerId="LiveId" clId="{42D3E951-AF5C-4164-98AB-2347A3B6E1E6}" dt="2024-04-03T19:53:39.501" v="37834" actId="20577"/>
          <ac:spMkLst>
            <pc:docMk/>
            <pc:sldMk cId="0" sldId="293"/>
            <ac:spMk id="10" creationId="{00000000-0000-0000-0000-000000000000}"/>
          </ac:spMkLst>
        </pc:spChg>
        <pc:spChg chg="del mod">
          <ac:chgData name="Daniel Cole" userId="f20a75f9320a1647" providerId="LiveId" clId="{42D3E951-AF5C-4164-98AB-2347A3B6E1E6}" dt="2024-03-31T18:52:54.320" v="29683" actId="478"/>
          <ac:spMkLst>
            <pc:docMk/>
            <pc:sldMk cId="0" sldId="293"/>
            <ac:spMk id="11" creationId="{00000000-0000-0000-0000-000000000000}"/>
          </ac:spMkLst>
        </pc:spChg>
        <pc:spChg chg="add mod">
          <ac:chgData name="Daniel Cole" userId="f20a75f9320a1647" providerId="LiveId" clId="{42D3E951-AF5C-4164-98AB-2347A3B6E1E6}" dt="2024-03-31T21:08:38.525" v="33355"/>
          <ac:spMkLst>
            <pc:docMk/>
            <pc:sldMk cId="0" sldId="293"/>
            <ac:spMk id="11" creationId="{FE008BE5-51C2-F5D9-999A-3B1BB1758E14}"/>
          </ac:spMkLst>
        </pc:spChg>
        <pc:spChg chg="del mod">
          <ac:chgData name="Daniel Cole" userId="f20a75f9320a1647" providerId="LiveId" clId="{42D3E951-AF5C-4164-98AB-2347A3B6E1E6}" dt="2024-03-30T21:20:17.040" v="21382" actId="478"/>
          <ac:spMkLst>
            <pc:docMk/>
            <pc:sldMk cId="0" sldId="293"/>
            <ac:spMk id="12" creationId="{00000000-0000-0000-0000-000000000000}"/>
          </ac:spMkLst>
        </pc:spChg>
        <pc:spChg chg="add mod">
          <ac:chgData name="Daniel Cole" userId="f20a75f9320a1647" providerId="LiveId" clId="{42D3E951-AF5C-4164-98AB-2347A3B6E1E6}" dt="2024-03-31T21:08:38.525" v="33355"/>
          <ac:spMkLst>
            <pc:docMk/>
            <pc:sldMk cId="0" sldId="293"/>
            <ac:spMk id="12" creationId="{6A3B5880-1024-81D8-5B3A-16B1D270D4EE}"/>
          </ac:spMkLst>
        </pc:spChg>
        <pc:spChg chg="add del mod">
          <ac:chgData name="Daniel Cole" userId="f20a75f9320a1647" providerId="LiveId" clId="{42D3E951-AF5C-4164-98AB-2347A3B6E1E6}" dt="2024-03-31T19:10:27.856" v="30045" actId="478"/>
          <ac:spMkLst>
            <pc:docMk/>
            <pc:sldMk cId="0" sldId="293"/>
            <ac:spMk id="12" creationId="{83A96B9F-3361-AC28-905E-AE6402CD6C7D}"/>
          </ac:spMkLst>
        </pc:spChg>
        <pc:spChg chg="del mod">
          <ac:chgData name="Daniel Cole" userId="f20a75f9320a1647" providerId="LiveId" clId="{42D3E951-AF5C-4164-98AB-2347A3B6E1E6}" dt="2024-03-31T18:52:54.320" v="29683" actId="478"/>
          <ac:spMkLst>
            <pc:docMk/>
            <pc:sldMk cId="0" sldId="293"/>
            <ac:spMk id="13" creationId="{00000000-0000-0000-0000-000000000000}"/>
          </ac:spMkLst>
        </pc:spChg>
        <pc:spChg chg="add mod">
          <ac:chgData name="Daniel Cole" userId="f20a75f9320a1647" providerId="LiveId" clId="{42D3E951-AF5C-4164-98AB-2347A3B6E1E6}" dt="2024-03-31T21:08:49.260" v="33357" actId="207"/>
          <ac:spMkLst>
            <pc:docMk/>
            <pc:sldMk cId="0" sldId="293"/>
            <ac:spMk id="13" creationId="{7F9FEF96-1B62-89B2-29D7-3D166098F010}"/>
          </ac:spMkLst>
        </pc:spChg>
        <pc:spChg chg="del mod">
          <ac:chgData name="Daniel Cole" userId="f20a75f9320a1647" providerId="LiveId" clId="{42D3E951-AF5C-4164-98AB-2347A3B6E1E6}" dt="2024-03-31T18:52:51.667" v="29682" actId="478"/>
          <ac:spMkLst>
            <pc:docMk/>
            <pc:sldMk cId="0" sldId="293"/>
            <ac:spMk id="14" creationId="{00000000-0000-0000-0000-000000000000}"/>
          </ac:spMkLst>
        </pc:spChg>
        <pc:spChg chg="add mod">
          <ac:chgData name="Daniel Cole" userId="f20a75f9320a1647" providerId="LiveId" clId="{42D3E951-AF5C-4164-98AB-2347A3B6E1E6}" dt="2024-03-31T21:08:49.260" v="33357" actId="207"/>
          <ac:spMkLst>
            <pc:docMk/>
            <pc:sldMk cId="0" sldId="293"/>
            <ac:spMk id="14" creationId="{55FD59EB-80DF-E77B-C9B4-9B8A88EB63ED}"/>
          </ac:spMkLst>
        </pc:spChg>
        <pc:spChg chg="mod">
          <ac:chgData name="Daniel Cole" userId="f20a75f9320a1647" providerId="LiveId" clId="{42D3E951-AF5C-4164-98AB-2347A3B6E1E6}" dt="2024-03-31T17:57:06.256" v="28633" actId="1035"/>
          <ac:spMkLst>
            <pc:docMk/>
            <pc:sldMk cId="0" sldId="293"/>
            <ac:spMk id="15" creationId="{00000000-0000-0000-0000-000000000000}"/>
          </ac:spMkLst>
        </pc:spChg>
        <pc:spChg chg="mod">
          <ac:chgData name="Daniel Cole" userId="f20a75f9320a1647" providerId="LiveId" clId="{42D3E951-AF5C-4164-98AB-2347A3B6E1E6}" dt="2024-03-31T19:50:06.521" v="30514" actId="1076"/>
          <ac:spMkLst>
            <pc:docMk/>
            <pc:sldMk cId="0" sldId="293"/>
            <ac:spMk id="16" creationId="{00000000-0000-0000-0000-000000000000}"/>
          </ac:spMkLst>
        </pc:spChg>
        <pc:spChg chg="mod">
          <ac:chgData name="Daniel Cole" userId="f20a75f9320a1647" providerId="LiveId" clId="{42D3E951-AF5C-4164-98AB-2347A3B6E1E6}" dt="2024-03-31T17:57:06.256" v="28633" actId="1035"/>
          <ac:spMkLst>
            <pc:docMk/>
            <pc:sldMk cId="0" sldId="293"/>
            <ac:spMk id="17" creationId="{00000000-0000-0000-0000-000000000000}"/>
          </ac:spMkLst>
        </pc:spChg>
        <pc:spChg chg="mod">
          <ac:chgData name="Daniel Cole" userId="f20a75f9320a1647" providerId="LiveId" clId="{42D3E951-AF5C-4164-98AB-2347A3B6E1E6}" dt="2024-03-31T19:49:09.775" v="30506" actId="465"/>
          <ac:spMkLst>
            <pc:docMk/>
            <pc:sldMk cId="0" sldId="293"/>
            <ac:spMk id="18" creationId="{00000000-0000-0000-0000-000000000000}"/>
          </ac:spMkLst>
        </pc:spChg>
        <pc:spChg chg="del mod">
          <ac:chgData name="Daniel Cole" userId="f20a75f9320a1647" providerId="LiveId" clId="{42D3E951-AF5C-4164-98AB-2347A3B6E1E6}" dt="2024-03-30T21:18:15.872" v="21342" actId="478"/>
          <ac:spMkLst>
            <pc:docMk/>
            <pc:sldMk cId="0" sldId="293"/>
            <ac:spMk id="19" creationId="{00000000-0000-0000-0000-000000000000}"/>
          </ac:spMkLst>
        </pc:spChg>
        <pc:spChg chg="add mod">
          <ac:chgData name="Daniel Cole" userId="f20a75f9320a1647" providerId="LiveId" clId="{42D3E951-AF5C-4164-98AB-2347A3B6E1E6}" dt="2024-03-31T20:32:36.109" v="32198" actId="20577"/>
          <ac:spMkLst>
            <pc:docMk/>
            <pc:sldMk cId="0" sldId="293"/>
            <ac:spMk id="19" creationId="{0B453403-14DE-607B-C2EF-9EE0BBE665E5}"/>
          </ac:spMkLst>
        </pc:spChg>
        <pc:spChg chg="mod">
          <ac:chgData name="Daniel Cole" userId="f20a75f9320a1647" providerId="LiveId" clId="{42D3E951-AF5C-4164-98AB-2347A3B6E1E6}" dt="2024-03-31T18:52:23.424" v="29681" actId="1035"/>
          <ac:spMkLst>
            <pc:docMk/>
            <pc:sldMk cId="0" sldId="293"/>
            <ac:spMk id="20" creationId="{00000000-0000-0000-0000-000000000000}"/>
          </ac:spMkLst>
        </pc:spChg>
        <pc:spChg chg="del">
          <ac:chgData name="Daniel Cole" userId="f20a75f9320a1647" providerId="LiveId" clId="{42D3E951-AF5C-4164-98AB-2347A3B6E1E6}" dt="2024-03-31T00:23:45.513" v="24332" actId="478"/>
          <ac:spMkLst>
            <pc:docMk/>
            <pc:sldMk cId="0" sldId="293"/>
            <ac:spMk id="21" creationId="{00000000-0000-0000-0000-000000000000}"/>
          </ac:spMkLst>
        </pc:spChg>
        <pc:spChg chg="add mod">
          <ac:chgData name="Daniel Cole" userId="f20a75f9320a1647" providerId="LiveId" clId="{42D3E951-AF5C-4164-98AB-2347A3B6E1E6}" dt="2024-04-01T17:07:14.323" v="37749" actId="207"/>
          <ac:spMkLst>
            <pc:docMk/>
            <pc:sldMk cId="0" sldId="293"/>
            <ac:spMk id="21" creationId="{9D24EEF1-91E4-D284-7DF9-D2FCF650ED7A}"/>
          </ac:spMkLst>
        </pc:spChg>
        <pc:spChg chg="del mod">
          <ac:chgData name="Daniel Cole" userId="f20a75f9320a1647" providerId="LiveId" clId="{42D3E951-AF5C-4164-98AB-2347A3B6E1E6}" dt="2024-03-31T21:08:37.391" v="33354" actId="478"/>
          <ac:spMkLst>
            <pc:docMk/>
            <pc:sldMk cId="0" sldId="293"/>
            <ac:spMk id="22" creationId="{00000000-0000-0000-0000-000000000000}"/>
          </ac:spMkLst>
        </pc:spChg>
        <pc:spChg chg="del mod">
          <ac:chgData name="Daniel Cole" userId="f20a75f9320a1647" providerId="LiveId" clId="{42D3E951-AF5C-4164-98AB-2347A3B6E1E6}" dt="2024-03-31T21:08:37.391" v="33354" actId="478"/>
          <ac:spMkLst>
            <pc:docMk/>
            <pc:sldMk cId="0" sldId="293"/>
            <ac:spMk id="23" creationId="{00000000-0000-0000-0000-000000000000}"/>
          </ac:spMkLst>
        </pc:spChg>
        <pc:spChg chg="del mod">
          <ac:chgData name="Daniel Cole" userId="f20a75f9320a1647" providerId="LiveId" clId="{42D3E951-AF5C-4164-98AB-2347A3B6E1E6}" dt="2024-04-01T17:07:09.185" v="37746" actId="478"/>
          <ac:spMkLst>
            <pc:docMk/>
            <pc:sldMk cId="0" sldId="293"/>
            <ac:spMk id="24" creationId="{00000000-0000-0000-0000-000000000000}"/>
          </ac:spMkLst>
        </pc:spChg>
        <pc:spChg chg="del mod">
          <ac:chgData name="Daniel Cole" userId="f20a75f9320a1647" providerId="LiveId" clId="{42D3E951-AF5C-4164-98AB-2347A3B6E1E6}" dt="2024-04-01T17:07:09.185" v="37746" actId="478"/>
          <ac:spMkLst>
            <pc:docMk/>
            <pc:sldMk cId="0" sldId="293"/>
            <ac:spMk id="25" creationId="{00000000-0000-0000-0000-000000000000}"/>
          </ac:spMkLst>
        </pc:spChg>
        <pc:spChg chg="mod">
          <ac:chgData name="Daniel Cole" userId="f20a75f9320a1647" providerId="LiveId" clId="{42D3E951-AF5C-4164-98AB-2347A3B6E1E6}" dt="2024-03-31T19:43:00.595" v="30342" actId="12788"/>
          <ac:spMkLst>
            <pc:docMk/>
            <pc:sldMk cId="0" sldId="293"/>
            <ac:spMk id="26" creationId="{00000000-0000-0000-0000-000000000000}"/>
          </ac:spMkLst>
        </pc:spChg>
        <pc:spChg chg="del mod">
          <ac:chgData name="Daniel Cole" userId="f20a75f9320a1647" providerId="LiveId" clId="{42D3E951-AF5C-4164-98AB-2347A3B6E1E6}" dt="2024-03-31T19:42:18.246" v="30320" actId="478"/>
          <ac:spMkLst>
            <pc:docMk/>
            <pc:sldMk cId="0" sldId="293"/>
            <ac:spMk id="27" creationId="{00000000-0000-0000-0000-000000000000}"/>
          </ac:spMkLst>
        </pc:spChg>
        <pc:spChg chg="del mod">
          <ac:chgData name="Daniel Cole" userId="f20a75f9320a1647" providerId="LiveId" clId="{42D3E951-AF5C-4164-98AB-2347A3B6E1E6}" dt="2024-03-31T21:08:37.391" v="33354" actId="478"/>
          <ac:spMkLst>
            <pc:docMk/>
            <pc:sldMk cId="0" sldId="293"/>
            <ac:spMk id="28" creationId="{00000000-0000-0000-0000-000000000000}"/>
          </ac:spMkLst>
        </pc:spChg>
        <pc:spChg chg="del mod">
          <ac:chgData name="Daniel Cole" userId="f20a75f9320a1647" providerId="LiveId" clId="{42D3E951-AF5C-4164-98AB-2347A3B6E1E6}" dt="2024-03-31T21:08:37.391" v="33354" actId="478"/>
          <ac:spMkLst>
            <pc:docMk/>
            <pc:sldMk cId="0" sldId="293"/>
            <ac:spMk id="29" creationId="{00000000-0000-0000-0000-000000000000}"/>
          </ac:spMkLst>
        </pc:spChg>
        <pc:spChg chg="mod">
          <ac:chgData name="Daniel Cole" userId="f20a75f9320a1647" providerId="LiveId" clId="{42D3E951-AF5C-4164-98AB-2347A3B6E1E6}" dt="2024-03-30T22:44:10.352" v="22655" actId="12789"/>
          <ac:spMkLst>
            <pc:docMk/>
            <pc:sldMk cId="0" sldId="293"/>
            <ac:spMk id="33" creationId="{00000000-0000-0000-0000-000000000000}"/>
          </ac:spMkLst>
        </pc:spChg>
        <pc:spChg chg="add del mod">
          <ac:chgData name="Daniel Cole" userId="f20a75f9320a1647" providerId="LiveId" clId="{42D3E951-AF5C-4164-98AB-2347A3B6E1E6}" dt="2024-03-31T18:17:30.077" v="29659" actId="478"/>
          <ac:spMkLst>
            <pc:docMk/>
            <pc:sldMk cId="0" sldId="293"/>
            <ac:spMk id="34" creationId="{00000000-0000-0000-0000-000000000000}"/>
          </ac:spMkLst>
        </pc:spChg>
        <pc:spChg chg="del">
          <ac:chgData name="Daniel Cole" userId="f20a75f9320a1647" providerId="LiveId" clId="{42D3E951-AF5C-4164-98AB-2347A3B6E1E6}" dt="2024-03-31T00:23:40.487" v="24331" actId="478"/>
          <ac:spMkLst>
            <pc:docMk/>
            <pc:sldMk cId="0" sldId="293"/>
            <ac:spMk id="35" creationId="{00000000-0000-0000-0000-000000000000}"/>
          </ac:spMkLst>
        </pc:spChg>
        <pc:spChg chg="del">
          <ac:chgData name="Daniel Cole" userId="f20a75f9320a1647" providerId="LiveId" clId="{42D3E951-AF5C-4164-98AB-2347A3B6E1E6}" dt="2024-03-31T00:23:40.487" v="24331" actId="478"/>
          <ac:spMkLst>
            <pc:docMk/>
            <pc:sldMk cId="0" sldId="293"/>
            <ac:spMk id="36" creationId="{00000000-0000-0000-0000-000000000000}"/>
          </ac:spMkLst>
        </pc:spChg>
        <pc:spChg chg="del">
          <ac:chgData name="Daniel Cole" userId="f20a75f9320a1647" providerId="LiveId" clId="{42D3E951-AF5C-4164-98AB-2347A3B6E1E6}" dt="2024-03-31T00:23:40.487" v="24331" actId="478"/>
          <ac:spMkLst>
            <pc:docMk/>
            <pc:sldMk cId="0" sldId="293"/>
            <ac:spMk id="37" creationId="{00000000-0000-0000-0000-000000000000}"/>
          </ac:spMkLst>
        </pc:spChg>
        <pc:spChg chg="del">
          <ac:chgData name="Daniel Cole" userId="f20a75f9320a1647" providerId="LiveId" clId="{42D3E951-AF5C-4164-98AB-2347A3B6E1E6}" dt="2024-03-31T00:23:40.487" v="24331" actId="478"/>
          <ac:spMkLst>
            <pc:docMk/>
            <pc:sldMk cId="0" sldId="293"/>
            <ac:spMk id="55" creationId="{00000000-0000-0000-0000-000000000000}"/>
          </ac:spMkLst>
        </pc:spChg>
        <pc:spChg chg="del">
          <ac:chgData name="Daniel Cole" userId="f20a75f9320a1647" providerId="LiveId" clId="{42D3E951-AF5C-4164-98AB-2347A3B6E1E6}" dt="2024-03-30T21:16:23.777" v="21326" actId="478"/>
          <ac:spMkLst>
            <pc:docMk/>
            <pc:sldMk cId="0" sldId="293"/>
            <ac:spMk id="56" creationId="{00000000-0000-0000-0000-000000000000}"/>
          </ac:spMkLst>
        </pc:spChg>
        <pc:spChg chg="add mod ord">
          <ac:chgData name="Daniel Cole" userId="f20a75f9320a1647" providerId="LiveId" clId="{42D3E951-AF5C-4164-98AB-2347A3B6E1E6}" dt="2024-03-31T21:08:49.260" v="33357" actId="207"/>
          <ac:spMkLst>
            <pc:docMk/>
            <pc:sldMk cId="0" sldId="293"/>
            <ac:spMk id="57" creationId="{E36F608D-9140-2F36-CDA6-A50E0BA862D8}"/>
          </ac:spMkLst>
        </pc:spChg>
        <pc:spChg chg="add mod">
          <ac:chgData name="Daniel Cole" userId="f20a75f9320a1647" providerId="LiveId" clId="{42D3E951-AF5C-4164-98AB-2347A3B6E1E6}" dt="2024-03-31T19:49:09.775" v="30506" actId="465"/>
          <ac:spMkLst>
            <pc:docMk/>
            <pc:sldMk cId="0" sldId="293"/>
            <ac:spMk id="58" creationId="{1CA82F21-F243-1364-7ABB-01A1F2482FE0}"/>
          </ac:spMkLst>
        </pc:spChg>
        <pc:spChg chg="add mod">
          <ac:chgData name="Daniel Cole" userId="f20a75f9320a1647" providerId="LiveId" clId="{42D3E951-AF5C-4164-98AB-2347A3B6E1E6}" dt="2024-03-31T19:49:09.775" v="30506" actId="465"/>
          <ac:spMkLst>
            <pc:docMk/>
            <pc:sldMk cId="0" sldId="293"/>
            <ac:spMk id="59" creationId="{7B2C9430-342F-DA8B-B1CA-C59542A92DE8}"/>
          </ac:spMkLst>
        </pc:spChg>
        <pc:spChg chg="add del mod">
          <ac:chgData name="Daniel Cole" userId="f20a75f9320a1647" providerId="LiveId" clId="{42D3E951-AF5C-4164-98AB-2347A3B6E1E6}" dt="2024-03-31T18:52:51.667" v="29682" actId="478"/>
          <ac:spMkLst>
            <pc:docMk/>
            <pc:sldMk cId="0" sldId="293"/>
            <ac:spMk id="60" creationId="{162E446D-3336-BA66-DCDB-FA395A4C737C}"/>
          </ac:spMkLst>
        </pc:spChg>
        <pc:spChg chg="add mod">
          <ac:chgData name="Daniel Cole" userId="f20a75f9320a1647" providerId="LiveId" clId="{42D3E951-AF5C-4164-98AB-2347A3B6E1E6}" dt="2024-03-31T00:24:25.897" v="24334" actId="2711"/>
          <ac:spMkLst>
            <pc:docMk/>
            <pc:sldMk cId="0" sldId="293"/>
            <ac:spMk id="61" creationId="{18C4B15D-93EE-0315-4C0F-DDD9874755BB}"/>
          </ac:spMkLst>
        </pc:spChg>
        <pc:spChg chg="mod">
          <ac:chgData name="Daniel Cole" userId="f20a75f9320a1647" providerId="LiveId" clId="{42D3E951-AF5C-4164-98AB-2347A3B6E1E6}" dt="2024-03-31T01:14:55.604" v="24829" actId="208"/>
          <ac:spMkLst>
            <pc:docMk/>
            <pc:sldMk cId="0" sldId="293"/>
            <ac:spMk id="63" creationId="{0AE77FD8-19FF-2CAF-09DB-CFF3695CB78A}"/>
          </ac:spMkLst>
        </pc:spChg>
        <pc:spChg chg="mod">
          <ac:chgData name="Daniel Cole" userId="f20a75f9320a1647" providerId="LiveId" clId="{42D3E951-AF5C-4164-98AB-2347A3B6E1E6}" dt="2024-03-31T00:24:14.517" v="24333"/>
          <ac:spMkLst>
            <pc:docMk/>
            <pc:sldMk cId="0" sldId="293"/>
            <ac:spMk id="65" creationId="{22B316E1-A394-49BA-A3A1-0EAB7372DCAF}"/>
          </ac:spMkLst>
        </pc:spChg>
        <pc:spChg chg="mod">
          <ac:chgData name="Daniel Cole" userId="f20a75f9320a1647" providerId="LiveId" clId="{42D3E951-AF5C-4164-98AB-2347A3B6E1E6}" dt="2024-03-31T00:24:14.517" v="24333"/>
          <ac:spMkLst>
            <pc:docMk/>
            <pc:sldMk cId="0" sldId="293"/>
            <ac:spMk id="67" creationId="{858CC583-1BD3-DFF2-A0BA-712B8FCF52C8}"/>
          </ac:spMkLst>
        </pc:spChg>
        <pc:spChg chg="add del mod">
          <ac:chgData name="Daniel Cole" userId="f20a75f9320a1647" providerId="LiveId" clId="{42D3E951-AF5C-4164-98AB-2347A3B6E1E6}" dt="2024-03-31T18:17:36.778" v="29661" actId="478"/>
          <ac:spMkLst>
            <pc:docMk/>
            <pc:sldMk cId="0" sldId="293"/>
            <ac:spMk id="68" creationId="{7D9A111C-B4FB-D343-F584-194F6AB79D53}"/>
          </ac:spMkLst>
        </pc:spChg>
        <pc:spChg chg="add mod">
          <ac:chgData name="Daniel Cole" userId="f20a75f9320a1647" providerId="LiveId" clId="{42D3E951-AF5C-4164-98AB-2347A3B6E1E6}" dt="2024-03-31T00:24:54.753" v="24352" actId="14100"/>
          <ac:spMkLst>
            <pc:docMk/>
            <pc:sldMk cId="0" sldId="293"/>
            <ac:spMk id="69" creationId="{FADB215E-D4BD-E7FD-1A45-CA5CF6F46D33}"/>
          </ac:spMkLst>
        </pc:spChg>
        <pc:spChg chg="add del mod">
          <ac:chgData name="Daniel Cole" userId="f20a75f9320a1647" providerId="LiveId" clId="{42D3E951-AF5C-4164-98AB-2347A3B6E1E6}" dt="2024-03-31T00:53:56.235" v="24672" actId="478"/>
          <ac:spMkLst>
            <pc:docMk/>
            <pc:sldMk cId="0" sldId="293"/>
            <ac:spMk id="70" creationId="{DC01D9B3-E3A0-EBD3-2DD1-1F96023F50DB}"/>
          </ac:spMkLst>
        </pc:spChg>
        <pc:spChg chg="add del mod">
          <ac:chgData name="Daniel Cole" userId="f20a75f9320a1647" providerId="LiveId" clId="{42D3E951-AF5C-4164-98AB-2347A3B6E1E6}" dt="2024-03-31T17:31:25.912" v="28226" actId="478"/>
          <ac:spMkLst>
            <pc:docMk/>
            <pc:sldMk cId="0" sldId="293"/>
            <ac:spMk id="84" creationId="{31451880-8726-40DA-394C-92FD12173147}"/>
          </ac:spMkLst>
        </pc:spChg>
        <pc:spChg chg="add del mod">
          <ac:chgData name="Daniel Cole" userId="f20a75f9320a1647" providerId="LiveId" clId="{42D3E951-AF5C-4164-98AB-2347A3B6E1E6}" dt="2024-03-31T19:40:36.928" v="30253" actId="478"/>
          <ac:spMkLst>
            <pc:docMk/>
            <pc:sldMk cId="0" sldId="293"/>
            <ac:spMk id="85" creationId="{CAF90434-E238-0C10-A18D-C9A729475BD9}"/>
          </ac:spMkLst>
        </pc:spChg>
        <pc:spChg chg="add del mod">
          <ac:chgData name="Daniel Cole" userId="f20a75f9320a1647" providerId="LiveId" clId="{42D3E951-AF5C-4164-98AB-2347A3B6E1E6}" dt="2024-03-31T19:40:36.928" v="30253" actId="478"/>
          <ac:spMkLst>
            <pc:docMk/>
            <pc:sldMk cId="0" sldId="293"/>
            <ac:spMk id="86" creationId="{33206A70-EB18-C7AD-EA6A-52C18C1E5FDE}"/>
          </ac:spMkLst>
        </pc:spChg>
        <pc:spChg chg="add del mod">
          <ac:chgData name="Daniel Cole" userId="f20a75f9320a1647" providerId="LiveId" clId="{42D3E951-AF5C-4164-98AB-2347A3B6E1E6}" dt="2024-03-31T00:53:56.235" v="24672" actId="478"/>
          <ac:spMkLst>
            <pc:docMk/>
            <pc:sldMk cId="0" sldId="293"/>
            <ac:spMk id="87" creationId="{14C0EE88-504B-B58C-566F-F917BBD4ACED}"/>
          </ac:spMkLst>
        </pc:spChg>
        <pc:spChg chg="add del mod">
          <ac:chgData name="Daniel Cole" userId="f20a75f9320a1647" providerId="LiveId" clId="{42D3E951-AF5C-4164-98AB-2347A3B6E1E6}" dt="2024-03-31T00:53:56.235" v="24672" actId="478"/>
          <ac:spMkLst>
            <pc:docMk/>
            <pc:sldMk cId="0" sldId="293"/>
            <ac:spMk id="88" creationId="{DFD5A461-F9C7-70F4-BE14-CBE3138B4386}"/>
          </ac:spMkLst>
        </pc:spChg>
        <pc:spChg chg="add del mod">
          <ac:chgData name="Daniel Cole" userId="f20a75f9320a1647" providerId="LiveId" clId="{42D3E951-AF5C-4164-98AB-2347A3B6E1E6}" dt="2024-03-31T19:40:36.928" v="30253" actId="478"/>
          <ac:spMkLst>
            <pc:docMk/>
            <pc:sldMk cId="0" sldId="293"/>
            <ac:spMk id="89" creationId="{6CD96C95-065C-769B-D8A4-CED2A015057B}"/>
          </ac:spMkLst>
        </pc:spChg>
        <pc:spChg chg="add del mod">
          <ac:chgData name="Daniel Cole" userId="f20a75f9320a1647" providerId="LiveId" clId="{42D3E951-AF5C-4164-98AB-2347A3B6E1E6}" dt="2024-03-31T19:40:36.928" v="30253" actId="478"/>
          <ac:spMkLst>
            <pc:docMk/>
            <pc:sldMk cId="0" sldId="293"/>
            <ac:spMk id="90" creationId="{43110786-3C21-8C0B-9915-47F5F169EE83}"/>
          </ac:spMkLst>
        </pc:spChg>
        <pc:spChg chg="add del mod">
          <ac:chgData name="Daniel Cole" userId="f20a75f9320a1647" providerId="LiveId" clId="{42D3E951-AF5C-4164-98AB-2347A3B6E1E6}" dt="2024-03-31T19:40:36.928" v="30253" actId="478"/>
          <ac:spMkLst>
            <pc:docMk/>
            <pc:sldMk cId="0" sldId="293"/>
            <ac:spMk id="91" creationId="{F83D3D32-5371-F496-4E54-CDB0C85FFA4F}"/>
          </ac:spMkLst>
        </pc:spChg>
        <pc:spChg chg="add del mod">
          <ac:chgData name="Daniel Cole" userId="f20a75f9320a1647" providerId="LiveId" clId="{42D3E951-AF5C-4164-98AB-2347A3B6E1E6}" dt="2024-03-31T00:41:18.997" v="24520" actId="478"/>
          <ac:spMkLst>
            <pc:docMk/>
            <pc:sldMk cId="0" sldId="293"/>
            <ac:spMk id="92" creationId="{CF400447-4406-A61B-069A-E9C316FD6FAA}"/>
          </ac:spMkLst>
        </pc:spChg>
        <pc:spChg chg="add del mod">
          <ac:chgData name="Daniel Cole" userId="f20a75f9320a1647" providerId="LiveId" clId="{42D3E951-AF5C-4164-98AB-2347A3B6E1E6}" dt="2024-03-31T00:42:01.998" v="24524" actId="478"/>
          <ac:spMkLst>
            <pc:docMk/>
            <pc:sldMk cId="0" sldId="293"/>
            <ac:spMk id="95" creationId="{B407EC37-C657-196B-0060-95227EE07105}"/>
          </ac:spMkLst>
        </pc:spChg>
        <pc:spChg chg="add del mod">
          <ac:chgData name="Daniel Cole" userId="f20a75f9320a1647" providerId="LiveId" clId="{42D3E951-AF5C-4164-98AB-2347A3B6E1E6}" dt="2024-03-31T00:44:07.644" v="24539" actId="478"/>
          <ac:spMkLst>
            <pc:docMk/>
            <pc:sldMk cId="0" sldId="293"/>
            <ac:spMk id="96" creationId="{BFC28688-96B4-C7BC-24DA-C45B1C3922B3}"/>
          </ac:spMkLst>
        </pc:spChg>
        <pc:spChg chg="add del mod">
          <ac:chgData name="Daniel Cole" userId="f20a75f9320a1647" providerId="LiveId" clId="{42D3E951-AF5C-4164-98AB-2347A3B6E1E6}" dt="2024-03-31T19:40:36.928" v="30253" actId="478"/>
          <ac:spMkLst>
            <pc:docMk/>
            <pc:sldMk cId="0" sldId="293"/>
            <ac:spMk id="97" creationId="{82459149-C1AE-7996-1D4D-47D355275B56}"/>
          </ac:spMkLst>
        </pc:spChg>
        <pc:spChg chg="add del mod">
          <ac:chgData name="Daniel Cole" userId="f20a75f9320a1647" providerId="LiveId" clId="{42D3E951-AF5C-4164-98AB-2347A3B6E1E6}" dt="2024-03-31T00:47:52.980" v="24582" actId="478"/>
          <ac:spMkLst>
            <pc:docMk/>
            <pc:sldMk cId="0" sldId="293"/>
            <ac:spMk id="98" creationId="{F76C3EDF-C453-307D-8888-30B2F959AA03}"/>
          </ac:spMkLst>
        </pc:spChg>
        <pc:spChg chg="add del mod">
          <ac:chgData name="Daniel Cole" userId="f20a75f9320a1647" providerId="LiveId" clId="{42D3E951-AF5C-4164-98AB-2347A3B6E1E6}" dt="2024-03-31T19:40:36.928" v="30253" actId="478"/>
          <ac:spMkLst>
            <pc:docMk/>
            <pc:sldMk cId="0" sldId="293"/>
            <ac:spMk id="99" creationId="{9B52072C-BE8E-F9CC-92C6-DE20B4AE319B}"/>
          </ac:spMkLst>
        </pc:spChg>
        <pc:spChg chg="add del mod">
          <ac:chgData name="Daniel Cole" userId="f20a75f9320a1647" providerId="LiveId" clId="{42D3E951-AF5C-4164-98AB-2347A3B6E1E6}" dt="2024-03-31T18:51:21.722" v="29677" actId="478"/>
          <ac:spMkLst>
            <pc:docMk/>
            <pc:sldMk cId="0" sldId="293"/>
            <ac:spMk id="106" creationId="{7D6785BA-6521-5432-2DA3-41411D791E8B}"/>
          </ac:spMkLst>
        </pc:spChg>
        <pc:spChg chg="add del mod">
          <ac:chgData name="Daniel Cole" userId="f20a75f9320a1647" providerId="LiveId" clId="{42D3E951-AF5C-4164-98AB-2347A3B6E1E6}" dt="2024-03-31T18:51:21.722" v="29677" actId="478"/>
          <ac:spMkLst>
            <pc:docMk/>
            <pc:sldMk cId="0" sldId="293"/>
            <ac:spMk id="107" creationId="{DED78EC7-979F-FB7D-554B-58F6677EE2CC}"/>
          </ac:spMkLst>
        </pc:spChg>
        <pc:spChg chg="add del mod">
          <ac:chgData name="Daniel Cole" userId="f20a75f9320a1647" providerId="LiveId" clId="{42D3E951-AF5C-4164-98AB-2347A3B6E1E6}" dt="2024-03-31T18:51:21.722" v="29677" actId="478"/>
          <ac:spMkLst>
            <pc:docMk/>
            <pc:sldMk cId="0" sldId="293"/>
            <ac:spMk id="108" creationId="{0059D9A4-2BA5-EBBC-241B-15ADC228E008}"/>
          </ac:spMkLst>
        </pc:spChg>
        <pc:spChg chg="add del mod">
          <ac:chgData name="Daniel Cole" userId="f20a75f9320a1647" providerId="LiveId" clId="{42D3E951-AF5C-4164-98AB-2347A3B6E1E6}" dt="2024-03-31T00:58:52.258" v="24749" actId="478"/>
          <ac:spMkLst>
            <pc:docMk/>
            <pc:sldMk cId="0" sldId="293"/>
            <ac:spMk id="109" creationId="{3F26B90C-5651-71D7-A066-3157803993F9}"/>
          </ac:spMkLst>
        </pc:spChg>
        <pc:spChg chg="add del mod">
          <ac:chgData name="Daniel Cole" userId="f20a75f9320a1647" providerId="LiveId" clId="{42D3E951-AF5C-4164-98AB-2347A3B6E1E6}" dt="2024-03-31T19:40:36.928" v="30253" actId="478"/>
          <ac:spMkLst>
            <pc:docMk/>
            <pc:sldMk cId="0" sldId="293"/>
            <ac:spMk id="110" creationId="{9821CDAC-4A1B-8B18-A09D-E7811EB6AF49}"/>
          </ac:spMkLst>
        </pc:spChg>
        <pc:spChg chg="add del mod">
          <ac:chgData name="Daniel Cole" userId="f20a75f9320a1647" providerId="LiveId" clId="{42D3E951-AF5C-4164-98AB-2347A3B6E1E6}" dt="2024-03-31T19:40:36.928" v="30253" actId="478"/>
          <ac:spMkLst>
            <pc:docMk/>
            <pc:sldMk cId="0" sldId="293"/>
            <ac:spMk id="111" creationId="{D90394C3-C601-44F5-8FCF-3AF1E8BCF667}"/>
          </ac:spMkLst>
        </pc:spChg>
        <pc:spChg chg="add del mod">
          <ac:chgData name="Daniel Cole" userId="f20a75f9320a1647" providerId="LiveId" clId="{42D3E951-AF5C-4164-98AB-2347A3B6E1E6}" dt="2024-03-31T19:40:36.928" v="30253" actId="478"/>
          <ac:spMkLst>
            <pc:docMk/>
            <pc:sldMk cId="0" sldId="293"/>
            <ac:spMk id="112" creationId="{2917E3DD-CCE1-3125-B3D6-0EC1480188F6}"/>
          </ac:spMkLst>
        </pc:spChg>
        <pc:grpChg chg="del mod">
          <ac:chgData name="Daniel Cole" userId="f20a75f9320a1647" providerId="LiveId" clId="{42D3E951-AF5C-4164-98AB-2347A3B6E1E6}" dt="2024-03-30T21:17:48.016" v="21336" actId="478"/>
          <ac:grpSpMkLst>
            <pc:docMk/>
            <pc:sldMk cId="0" sldId="293"/>
            <ac:grpSpMk id="2" creationId="{00000000-0000-0000-0000-000000000000}"/>
          </ac:grpSpMkLst>
        </pc:grpChg>
        <pc:grpChg chg="mod">
          <ac:chgData name="Daniel Cole" userId="f20a75f9320a1647" providerId="LiveId" clId="{42D3E951-AF5C-4164-98AB-2347A3B6E1E6}" dt="2024-03-30T22:44:10.352" v="22655" actId="12789"/>
          <ac:grpSpMkLst>
            <pc:docMk/>
            <pc:sldMk cId="0" sldId="293"/>
            <ac:grpSpMk id="30" creationId="{00000000-0000-0000-0000-000000000000}"/>
          </ac:grpSpMkLst>
        </pc:grpChg>
        <pc:grpChg chg="del">
          <ac:chgData name="Daniel Cole" userId="f20a75f9320a1647" providerId="LiveId" clId="{42D3E951-AF5C-4164-98AB-2347A3B6E1E6}" dt="2024-03-31T00:23:34.670" v="24330" actId="478"/>
          <ac:grpSpMkLst>
            <pc:docMk/>
            <pc:sldMk cId="0" sldId="293"/>
            <ac:grpSpMk id="38" creationId="{00000000-0000-0000-0000-000000000000}"/>
          </ac:grpSpMkLst>
        </pc:grpChg>
        <pc:grpChg chg="add del mod">
          <ac:chgData name="Daniel Cole" userId="f20a75f9320a1647" providerId="LiveId" clId="{42D3E951-AF5C-4164-98AB-2347A3B6E1E6}" dt="2024-03-31T18:17:33.528" v="29660" actId="478"/>
          <ac:grpSpMkLst>
            <pc:docMk/>
            <pc:sldMk cId="0" sldId="293"/>
            <ac:grpSpMk id="62" creationId="{8C01D41A-9C9D-FEC9-83C0-2919B88FA355}"/>
          </ac:grpSpMkLst>
        </pc:grpChg>
        <pc:grpChg chg="add del mod">
          <ac:chgData name="Daniel Cole" userId="f20a75f9320a1647" providerId="LiveId" clId="{42D3E951-AF5C-4164-98AB-2347A3B6E1E6}" dt="2024-03-31T19:40:36.928" v="30253" actId="478"/>
          <ac:grpSpMkLst>
            <pc:docMk/>
            <pc:sldMk cId="0" sldId="293"/>
            <ac:grpSpMk id="71" creationId="{F54B3E6C-D422-49A0-2084-BD4B1664C8C5}"/>
          </ac:grpSpMkLst>
        </pc:grpChg>
        <pc:picChg chg="mod">
          <ac:chgData name="Daniel Cole" userId="f20a75f9320a1647" providerId="LiveId" clId="{42D3E951-AF5C-4164-98AB-2347A3B6E1E6}" dt="2024-03-30T21:16:16.579" v="21324" actId="1076"/>
          <ac:picMkLst>
            <pc:docMk/>
            <pc:sldMk cId="0" sldId="293"/>
            <ac:picMk id="3" creationId="{00000000-0000-0000-0000-000000000000}"/>
          </ac:picMkLst>
        </pc:picChg>
        <pc:picChg chg="del">
          <ac:chgData name="Daniel Cole" userId="f20a75f9320a1647" providerId="LiveId" clId="{42D3E951-AF5C-4164-98AB-2347A3B6E1E6}" dt="2024-03-30T21:16:18.626" v="21325" actId="478"/>
          <ac:picMkLst>
            <pc:docMk/>
            <pc:sldMk cId="0" sldId="293"/>
            <ac:picMk id="4" creationId="{00000000-0000-0000-0000-000000000000}"/>
          </ac:picMkLst>
        </pc:picChg>
        <pc:picChg chg="mod">
          <ac:chgData name="Daniel Cole" userId="f20a75f9320a1647" providerId="LiveId" clId="{42D3E951-AF5C-4164-98AB-2347A3B6E1E6}" dt="2024-03-31T00:24:14.517" v="24333"/>
          <ac:picMkLst>
            <pc:docMk/>
            <pc:sldMk cId="0" sldId="293"/>
            <ac:picMk id="64" creationId="{216E48D4-7BF9-2ED2-E594-53A57CF42A4B}"/>
          </ac:picMkLst>
        </pc:picChg>
        <pc:picChg chg="mod">
          <ac:chgData name="Daniel Cole" userId="f20a75f9320a1647" providerId="LiveId" clId="{42D3E951-AF5C-4164-98AB-2347A3B6E1E6}" dt="2024-03-31T00:24:14.517" v="24333"/>
          <ac:picMkLst>
            <pc:docMk/>
            <pc:sldMk cId="0" sldId="293"/>
            <ac:picMk id="66" creationId="{8C8FB739-58C5-CB30-CF8B-7D7F20BEDA01}"/>
          </ac:picMkLst>
        </pc:picChg>
        <pc:cxnChg chg="mod">
          <ac:chgData name="Daniel Cole" userId="f20a75f9320a1647" providerId="LiveId" clId="{42D3E951-AF5C-4164-98AB-2347A3B6E1E6}" dt="2024-03-31T00:24:14.517" v="24333"/>
          <ac:cxnSpMkLst>
            <pc:docMk/>
            <pc:sldMk cId="0" sldId="293"/>
            <ac:cxnSpMk id="72" creationId="{404BB1E5-93FD-9387-618A-000133715373}"/>
          </ac:cxnSpMkLst>
        </pc:cxnChg>
        <pc:cxnChg chg="mod">
          <ac:chgData name="Daniel Cole" userId="f20a75f9320a1647" providerId="LiveId" clId="{42D3E951-AF5C-4164-98AB-2347A3B6E1E6}" dt="2024-03-31T00:24:14.517" v="24333"/>
          <ac:cxnSpMkLst>
            <pc:docMk/>
            <pc:sldMk cId="0" sldId="293"/>
            <ac:cxnSpMk id="73" creationId="{CE0E6663-A4E3-AFA6-561E-DBFBC126B49A}"/>
          </ac:cxnSpMkLst>
        </pc:cxnChg>
        <pc:cxnChg chg="mod">
          <ac:chgData name="Daniel Cole" userId="f20a75f9320a1647" providerId="LiveId" clId="{42D3E951-AF5C-4164-98AB-2347A3B6E1E6}" dt="2024-03-31T00:24:14.517" v="24333"/>
          <ac:cxnSpMkLst>
            <pc:docMk/>
            <pc:sldMk cId="0" sldId="293"/>
            <ac:cxnSpMk id="74" creationId="{09A9F9AB-77C1-8C88-5FCC-766CF81188E6}"/>
          </ac:cxnSpMkLst>
        </pc:cxnChg>
        <pc:cxnChg chg="mod">
          <ac:chgData name="Daniel Cole" userId="f20a75f9320a1647" providerId="LiveId" clId="{42D3E951-AF5C-4164-98AB-2347A3B6E1E6}" dt="2024-03-31T00:24:14.517" v="24333"/>
          <ac:cxnSpMkLst>
            <pc:docMk/>
            <pc:sldMk cId="0" sldId="293"/>
            <ac:cxnSpMk id="75" creationId="{4D2F7576-D488-5B11-7416-CB3D74472B0D}"/>
          </ac:cxnSpMkLst>
        </pc:cxnChg>
        <pc:cxnChg chg="mod">
          <ac:chgData name="Daniel Cole" userId="f20a75f9320a1647" providerId="LiveId" clId="{42D3E951-AF5C-4164-98AB-2347A3B6E1E6}" dt="2024-03-31T00:24:14.517" v="24333"/>
          <ac:cxnSpMkLst>
            <pc:docMk/>
            <pc:sldMk cId="0" sldId="293"/>
            <ac:cxnSpMk id="76" creationId="{58EA9BBC-D54D-7CB2-3538-69307AA0A5CA}"/>
          </ac:cxnSpMkLst>
        </pc:cxnChg>
        <pc:cxnChg chg="mod">
          <ac:chgData name="Daniel Cole" userId="f20a75f9320a1647" providerId="LiveId" clId="{42D3E951-AF5C-4164-98AB-2347A3B6E1E6}" dt="2024-03-31T00:24:14.517" v="24333"/>
          <ac:cxnSpMkLst>
            <pc:docMk/>
            <pc:sldMk cId="0" sldId="293"/>
            <ac:cxnSpMk id="77" creationId="{83FCC1B6-F254-7119-1530-AB3F502F697E}"/>
          </ac:cxnSpMkLst>
        </pc:cxnChg>
        <pc:cxnChg chg="mod">
          <ac:chgData name="Daniel Cole" userId="f20a75f9320a1647" providerId="LiveId" clId="{42D3E951-AF5C-4164-98AB-2347A3B6E1E6}" dt="2024-03-31T00:24:14.517" v="24333"/>
          <ac:cxnSpMkLst>
            <pc:docMk/>
            <pc:sldMk cId="0" sldId="293"/>
            <ac:cxnSpMk id="78" creationId="{F0862673-95F4-203F-07D2-8CA9BDB68EF3}"/>
          </ac:cxnSpMkLst>
        </pc:cxnChg>
        <pc:cxnChg chg="mod">
          <ac:chgData name="Daniel Cole" userId="f20a75f9320a1647" providerId="LiveId" clId="{42D3E951-AF5C-4164-98AB-2347A3B6E1E6}" dt="2024-03-31T00:24:14.517" v="24333"/>
          <ac:cxnSpMkLst>
            <pc:docMk/>
            <pc:sldMk cId="0" sldId="293"/>
            <ac:cxnSpMk id="79" creationId="{1A096940-532D-617E-8CFF-33150C667E67}"/>
          </ac:cxnSpMkLst>
        </pc:cxnChg>
        <pc:cxnChg chg="mod">
          <ac:chgData name="Daniel Cole" userId="f20a75f9320a1647" providerId="LiveId" clId="{42D3E951-AF5C-4164-98AB-2347A3B6E1E6}" dt="2024-03-31T00:24:14.517" v="24333"/>
          <ac:cxnSpMkLst>
            <pc:docMk/>
            <pc:sldMk cId="0" sldId="293"/>
            <ac:cxnSpMk id="80" creationId="{7A4511FF-1ACB-23FE-601F-1D237CEC70C2}"/>
          </ac:cxnSpMkLst>
        </pc:cxnChg>
        <pc:cxnChg chg="mod">
          <ac:chgData name="Daniel Cole" userId="f20a75f9320a1647" providerId="LiveId" clId="{42D3E951-AF5C-4164-98AB-2347A3B6E1E6}" dt="2024-03-31T00:24:14.517" v="24333"/>
          <ac:cxnSpMkLst>
            <pc:docMk/>
            <pc:sldMk cId="0" sldId="293"/>
            <ac:cxnSpMk id="81" creationId="{7341F058-5A38-555C-DC6F-604708D0D84D}"/>
          </ac:cxnSpMkLst>
        </pc:cxnChg>
        <pc:cxnChg chg="mod">
          <ac:chgData name="Daniel Cole" userId="f20a75f9320a1647" providerId="LiveId" clId="{42D3E951-AF5C-4164-98AB-2347A3B6E1E6}" dt="2024-03-31T00:24:14.517" v="24333"/>
          <ac:cxnSpMkLst>
            <pc:docMk/>
            <pc:sldMk cId="0" sldId="293"/>
            <ac:cxnSpMk id="82" creationId="{E34ABDB9-80EB-9985-7E91-4C19263E979E}"/>
          </ac:cxnSpMkLst>
        </pc:cxnChg>
        <pc:cxnChg chg="mod">
          <ac:chgData name="Daniel Cole" userId="f20a75f9320a1647" providerId="LiveId" clId="{42D3E951-AF5C-4164-98AB-2347A3B6E1E6}" dt="2024-03-31T00:24:14.517" v="24333"/>
          <ac:cxnSpMkLst>
            <pc:docMk/>
            <pc:sldMk cId="0" sldId="293"/>
            <ac:cxnSpMk id="83" creationId="{566DCDAD-E4D7-57E7-2882-BFD79B55252D}"/>
          </ac:cxnSpMkLst>
        </pc:cxnChg>
        <pc:cxnChg chg="add del mod">
          <ac:chgData name="Daniel Cole" userId="f20a75f9320a1647" providerId="LiveId" clId="{42D3E951-AF5C-4164-98AB-2347A3B6E1E6}" dt="2024-03-31T00:50:52.458" v="24628" actId="478"/>
          <ac:cxnSpMkLst>
            <pc:docMk/>
            <pc:sldMk cId="0" sldId="293"/>
            <ac:cxnSpMk id="94" creationId="{574190C1-7434-FCE2-BADA-8522F8C259EE}"/>
          </ac:cxnSpMkLst>
        </pc:cxnChg>
        <pc:cxnChg chg="add del mod">
          <ac:chgData name="Daniel Cole" userId="f20a75f9320a1647" providerId="LiveId" clId="{42D3E951-AF5C-4164-98AB-2347A3B6E1E6}" dt="2024-03-31T00:50:22.042" v="24623" actId="478"/>
          <ac:cxnSpMkLst>
            <pc:docMk/>
            <pc:sldMk cId="0" sldId="293"/>
            <ac:cxnSpMk id="101" creationId="{86D0AA11-2350-108D-37BC-84B630EF8271}"/>
          </ac:cxnSpMkLst>
        </pc:cxnChg>
        <pc:cxnChg chg="add del mod">
          <ac:chgData name="Daniel Cole" userId="f20a75f9320a1647" providerId="LiveId" clId="{42D3E951-AF5C-4164-98AB-2347A3B6E1E6}" dt="2024-03-31T00:50:49.299" v="24627" actId="478"/>
          <ac:cxnSpMkLst>
            <pc:docMk/>
            <pc:sldMk cId="0" sldId="293"/>
            <ac:cxnSpMk id="104" creationId="{C7FA6244-4368-74AD-216F-0CAA1AC61DC4}"/>
          </ac:cxnSpMkLst>
        </pc:cxnChg>
      </pc:sldChg>
      <pc:sldChg chg="addSp delSp modSp add mod">
        <pc:chgData name="Daniel Cole" userId="f20a75f9320a1647" providerId="LiveId" clId="{42D3E951-AF5C-4164-98AB-2347A3B6E1E6}" dt="2024-04-01T03:26:14.832" v="37656" actId="20577"/>
        <pc:sldMkLst>
          <pc:docMk/>
          <pc:sldMk cId="2599160821" sldId="2147472864"/>
        </pc:sldMkLst>
        <pc:spChg chg="del">
          <ac:chgData name="Daniel Cole" userId="f20a75f9320a1647" providerId="LiveId" clId="{42D3E951-AF5C-4164-98AB-2347A3B6E1E6}" dt="2024-03-21T14:18:27.028" v="13277" actId="478"/>
          <ac:spMkLst>
            <pc:docMk/>
            <pc:sldMk cId="2599160821" sldId="2147472864"/>
            <ac:spMk id="2" creationId="{D9B433FE-A0D6-ACE0-E165-7FA043C3AA02}"/>
          </ac:spMkLst>
        </pc:spChg>
        <pc:spChg chg="del">
          <ac:chgData name="Daniel Cole" userId="f20a75f9320a1647" providerId="LiveId" clId="{42D3E951-AF5C-4164-98AB-2347A3B6E1E6}" dt="2024-03-21T14:18:10.751" v="13274" actId="478"/>
          <ac:spMkLst>
            <pc:docMk/>
            <pc:sldMk cId="2599160821" sldId="2147472864"/>
            <ac:spMk id="3" creationId="{B134D12C-4F9F-86A7-65FC-5C435998C5F6}"/>
          </ac:spMkLst>
        </pc:spChg>
        <pc:spChg chg="add del">
          <ac:chgData name="Daniel Cole" userId="f20a75f9320a1647" providerId="LiveId" clId="{42D3E951-AF5C-4164-98AB-2347A3B6E1E6}" dt="2024-03-21T14:20:17.346" v="13289" actId="478"/>
          <ac:spMkLst>
            <pc:docMk/>
            <pc:sldMk cId="2599160821" sldId="2147472864"/>
            <ac:spMk id="4" creationId="{41FC24A7-837F-D286-0636-EDCC70143906}"/>
          </ac:spMkLst>
        </pc:spChg>
        <pc:spChg chg="del mod">
          <ac:chgData name="Daniel Cole" userId="f20a75f9320a1647" providerId="LiveId" clId="{42D3E951-AF5C-4164-98AB-2347A3B6E1E6}" dt="2024-03-21T14:20:04.802" v="13286" actId="478"/>
          <ac:spMkLst>
            <pc:docMk/>
            <pc:sldMk cId="2599160821" sldId="2147472864"/>
            <ac:spMk id="5" creationId="{CF149A2A-BE12-9AA3-8DB8-2BFC2CFBED44}"/>
          </ac:spMkLst>
        </pc:spChg>
        <pc:spChg chg="mod">
          <ac:chgData name="Daniel Cole" userId="f20a75f9320a1647" providerId="LiveId" clId="{42D3E951-AF5C-4164-98AB-2347A3B6E1E6}" dt="2024-04-01T03:25:27.007" v="37633" actId="20577"/>
          <ac:spMkLst>
            <pc:docMk/>
            <pc:sldMk cId="2599160821" sldId="2147472864"/>
            <ac:spMk id="7" creationId="{C0A863D5-417D-462E-D92E-99AC9C85D56D}"/>
          </ac:spMkLst>
        </pc:spChg>
        <pc:spChg chg="add del mod">
          <ac:chgData name="Daniel Cole" userId="f20a75f9320a1647" providerId="LiveId" clId="{42D3E951-AF5C-4164-98AB-2347A3B6E1E6}" dt="2024-04-01T03:26:14.832" v="37656" actId="20577"/>
          <ac:spMkLst>
            <pc:docMk/>
            <pc:sldMk cId="2599160821" sldId="2147472864"/>
            <ac:spMk id="8" creationId="{DB53529D-84A0-D5E5-4FE8-0DD379533373}"/>
          </ac:spMkLst>
        </pc:spChg>
        <pc:spChg chg="add del mod">
          <ac:chgData name="Daniel Cole" userId="f20a75f9320a1647" providerId="LiveId" clId="{42D3E951-AF5C-4164-98AB-2347A3B6E1E6}" dt="2024-04-01T03:25:41.390" v="37639" actId="20577"/>
          <ac:spMkLst>
            <pc:docMk/>
            <pc:sldMk cId="2599160821" sldId="2147472864"/>
            <ac:spMk id="9" creationId="{59534980-041B-FDBF-A35C-310C31902999}"/>
          </ac:spMkLst>
        </pc:spChg>
        <pc:spChg chg="add del mod">
          <ac:chgData name="Daniel Cole" userId="f20a75f9320a1647" providerId="LiveId" clId="{42D3E951-AF5C-4164-98AB-2347A3B6E1E6}" dt="2024-03-21T18:39:35.067" v="18397" actId="478"/>
          <ac:spMkLst>
            <pc:docMk/>
            <pc:sldMk cId="2599160821" sldId="2147472864"/>
            <ac:spMk id="10" creationId="{C1B327C9-4ED4-A496-849A-912CAA0D8FA7}"/>
          </ac:spMkLst>
        </pc:spChg>
        <pc:spChg chg="add mod">
          <ac:chgData name="Daniel Cole" userId="f20a75f9320a1647" providerId="LiveId" clId="{42D3E951-AF5C-4164-98AB-2347A3B6E1E6}" dt="2024-03-30T20:53:13.372" v="21198" actId="255"/>
          <ac:spMkLst>
            <pc:docMk/>
            <pc:sldMk cId="2599160821" sldId="2147472864"/>
            <ac:spMk id="11" creationId="{FB039B6C-6B13-C9C1-01B5-4B361E3F66A7}"/>
          </ac:spMkLst>
        </pc:spChg>
        <pc:spChg chg="mod">
          <ac:chgData name="Daniel Cole" userId="f20a75f9320a1647" providerId="LiveId" clId="{42D3E951-AF5C-4164-98AB-2347A3B6E1E6}" dt="2024-03-30T20:46:03.752" v="21055" actId="20577"/>
          <ac:spMkLst>
            <pc:docMk/>
            <pc:sldMk cId="2599160821" sldId="2147472864"/>
            <ac:spMk id="12" creationId="{744CEE42-AB91-944C-E302-D0E12E970BB4}"/>
          </ac:spMkLst>
        </pc:spChg>
        <pc:spChg chg="add del mod">
          <ac:chgData name="Daniel Cole" userId="f20a75f9320a1647" providerId="LiveId" clId="{42D3E951-AF5C-4164-98AB-2347A3B6E1E6}" dt="2024-03-30T21:07:36.302" v="21287" actId="20577"/>
          <ac:spMkLst>
            <pc:docMk/>
            <pc:sldMk cId="2599160821" sldId="2147472864"/>
            <ac:spMk id="13" creationId="{A9C8693A-CF7F-A74C-C78C-2D7F78528359}"/>
          </ac:spMkLst>
        </pc:spChg>
        <pc:spChg chg="add del mod">
          <ac:chgData name="Daniel Cole" userId="f20a75f9320a1647" providerId="LiveId" clId="{42D3E951-AF5C-4164-98AB-2347A3B6E1E6}" dt="2024-03-30T20:36:26.773" v="20943" actId="20577"/>
          <ac:spMkLst>
            <pc:docMk/>
            <pc:sldMk cId="2599160821" sldId="2147472864"/>
            <ac:spMk id="14" creationId="{FA6FFE2C-CA99-39D8-62D9-A8D28C153043}"/>
          </ac:spMkLst>
        </pc:spChg>
        <pc:spChg chg="add del mod">
          <ac:chgData name="Daniel Cole" userId="f20a75f9320a1647" providerId="LiveId" clId="{42D3E951-AF5C-4164-98AB-2347A3B6E1E6}" dt="2024-03-30T20:44:15.363" v="21036" actId="20577"/>
          <ac:spMkLst>
            <pc:docMk/>
            <pc:sldMk cId="2599160821" sldId="2147472864"/>
            <ac:spMk id="15" creationId="{41BC9F32-5A6E-53A7-35A2-BAD06889DD17}"/>
          </ac:spMkLst>
        </pc:spChg>
        <pc:spChg chg="add del mod">
          <ac:chgData name="Daniel Cole" userId="f20a75f9320a1647" providerId="LiveId" clId="{42D3E951-AF5C-4164-98AB-2347A3B6E1E6}" dt="2024-03-21T17:57:38.726" v="17862" actId="164"/>
          <ac:spMkLst>
            <pc:docMk/>
            <pc:sldMk cId="2599160821" sldId="2147472864"/>
            <ac:spMk id="16" creationId="{EA832319-AA9E-EA08-A82A-75261F242EB8}"/>
          </ac:spMkLst>
        </pc:spChg>
        <pc:spChg chg="mod">
          <ac:chgData name="Daniel Cole" userId="f20a75f9320a1647" providerId="LiveId" clId="{42D3E951-AF5C-4164-98AB-2347A3B6E1E6}" dt="2024-03-21T14:20:25.537" v="13334" actId="1035"/>
          <ac:spMkLst>
            <pc:docMk/>
            <pc:sldMk cId="2599160821" sldId="2147472864"/>
            <ac:spMk id="18" creationId="{D7209051-811D-FCDB-BBD8-8DBB6160080D}"/>
          </ac:spMkLst>
        </pc:spChg>
        <pc:spChg chg="mod">
          <ac:chgData name="Daniel Cole" userId="f20a75f9320a1647" providerId="LiveId" clId="{42D3E951-AF5C-4164-98AB-2347A3B6E1E6}" dt="2024-03-21T14:20:25.537" v="13334" actId="1035"/>
          <ac:spMkLst>
            <pc:docMk/>
            <pc:sldMk cId="2599160821" sldId="2147472864"/>
            <ac:spMk id="19" creationId="{68A48B00-659D-F868-C8AC-1C15F7E760B0}"/>
          </ac:spMkLst>
        </pc:spChg>
        <pc:spChg chg="add del mod topLvl">
          <ac:chgData name="Daniel Cole" userId="f20a75f9320a1647" providerId="LiveId" clId="{42D3E951-AF5C-4164-98AB-2347A3B6E1E6}" dt="2024-03-21T17:58:48.498" v="17878" actId="164"/>
          <ac:spMkLst>
            <pc:docMk/>
            <pc:sldMk cId="2599160821" sldId="2147472864"/>
            <ac:spMk id="20" creationId="{EB59193A-4C34-4969-4EA0-10E66753301D}"/>
          </ac:spMkLst>
        </pc:spChg>
        <pc:spChg chg="add del mod">
          <ac:chgData name="Daniel Cole" userId="f20a75f9320a1647" providerId="LiveId" clId="{42D3E951-AF5C-4164-98AB-2347A3B6E1E6}" dt="2024-03-21T18:02:32.853" v="17900" actId="164"/>
          <ac:spMkLst>
            <pc:docMk/>
            <pc:sldMk cId="2599160821" sldId="2147472864"/>
            <ac:spMk id="21" creationId="{3B215AC7-53E5-351F-D6BE-42E64B46828C}"/>
          </ac:spMkLst>
        </pc:spChg>
        <pc:spChg chg="add del mod">
          <ac:chgData name="Daniel Cole" userId="f20a75f9320a1647" providerId="LiveId" clId="{42D3E951-AF5C-4164-98AB-2347A3B6E1E6}" dt="2024-03-21T18:39:35.067" v="18397" actId="478"/>
          <ac:spMkLst>
            <pc:docMk/>
            <pc:sldMk cId="2599160821" sldId="2147472864"/>
            <ac:spMk id="22" creationId="{69CF310A-A157-9DD1-3118-B68B46293E9B}"/>
          </ac:spMkLst>
        </pc:spChg>
        <pc:spChg chg="mod">
          <ac:chgData name="Daniel Cole" userId="f20a75f9320a1647" providerId="LiveId" clId="{42D3E951-AF5C-4164-98AB-2347A3B6E1E6}" dt="2024-03-21T14:20:25.537" v="13334" actId="1035"/>
          <ac:spMkLst>
            <pc:docMk/>
            <pc:sldMk cId="2599160821" sldId="2147472864"/>
            <ac:spMk id="24" creationId="{93FBC452-34EE-76C3-9E05-7E331E88E0BA}"/>
          </ac:spMkLst>
        </pc:spChg>
        <pc:spChg chg="mod">
          <ac:chgData name="Daniel Cole" userId="f20a75f9320a1647" providerId="LiveId" clId="{42D3E951-AF5C-4164-98AB-2347A3B6E1E6}" dt="2024-03-21T14:20:25.537" v="13334" actId="1035"/>
          <ac:spMkLst>
            <pc:docMk/>
            <pc:sldMk cId="2599160821" sldId="2147472864"/>
            <ac:spMk id="25" creationId="{D7F49805-95B7-7C20-657C-AF8D676496D4}"/>
          </ac:spMkLst>
        </pc:spChg>
        <pc:spChg chg="mod">
          <ac:chgData name="Daniel Cole" userId="f20a75f9320a1647" providerId="LiveId" clId="{42D3E951-AF5C-4164-98AB-2347A3B6E1E6}" dt="2024-03-21T14:20:25.537" v="13334" actId="1035"/>
          <ac:spMkLst>
            <pc:docMk/>
            <pc:sldMk cId="2599160821" sldId="2147472864"/>
            <ac:spMk id="26" creationId="{FC6FA997-C627-EB93-13B0-F6C43B71C557}"/>
          </ac:spMkLst>
        </pc:spChg>
        <pc:spChg chg="mod">
          <ac:chgData name="Daniel Cole" userId="f20a75f9320a1647" providerId="LiveId" clId="{42D3E951-AF5C-4164-98AB-2347A3B6E1E6}" dt="2024-03-21T14:20:25.537" v="13334" actId="1035"/>
          <ac:spMkLst>
            <pc:docMk/>
            <pc:sldMk cId="2599160821" sldId="2147472864"/>
            <ac:spMk id="27" creationId="{EC9384D9-B02F-D374-43B7-C1D2051E97FF}"/>
          </ac:spMkLst>
        </pc:spChg>
        <pc:spChg chg="mod">
          <ac:chgData name="Daniel Cole" userId="f20a75f9320a1647" providerId="LiveId" clId="{42D3E951-AF5C-4164-98AB-2347A3B6E1E6}" dt="2024-03-21T14:20:25.537" v="13334" actId="1035"/>
          <ac:spMkLst>
            <pc:docMk/>
            <pc:sldMk cId="2599160821" sldId="2147472864"/>
            <ac:spMk id="28" creationId="{3F8867E6-88BB-4A85-722F-3D874952420E}"/>
          </ac:spMkLst>
        </pc:spChg>
        <pc:spChg chg="add del mod">
          <ac:chgData name="Daniel Cole" userId="f20a75f9320a1647" providerId="LiveId" clId="{42D3E951-AF5C-4164-98AB-2347A3B6E1E6}" dt="2024-03-21T14:21:04.828" v="13340" actId="478"/>
          <ac:spMkLst>
            <pc:docMk/>
            <pc:sldMk cId="2599160821" sldId="2147472864"/>
            <ac:spMk id="29" creationId="{C56FDDEE-1913-D1BA-51AD-A0498A722418}"/>
          </ac:spMkLst>
        </pc:spChg>
        <pc:spChg chg="mod">
          <ac:chgData name="Daniel Cole" userId="f20a75f9320a1647" providerId="LiveId" clId="{42D3E951-AF5C-4164-98AB-2347A3B6E1E6}" dt="2024-03-21T14:20:25.537" v="13334" actId="1035"/>
          <ac:spMkLst>
            <pc:docMk/>
            <pc:sldMk cId="2599160821" sldId="2147472864"/>
            <ac:spMk id="31" creationId="{165DB641-2EBF-881D-BBE7-F83F491F01FA}"/>
          </ac:spMkLst>
        </pc:spChg>
        <pc:spChg chg="add del mod">
          <ac:chgData name="Daniel Cole" userId="f20a75f9320a1647" providerId="LiveId" clId="{42D3E951-AF5C-4164-98AB-2347A3B6E1E6}" dt="2024-03-21T14:18:14.201" v="13275" actId="478"/>
          <ac:spMkLst>
            <pc:docMk/>
            <pc:sldMk cId="2599160821" sldId="2147472864"/>
            <ac:spMk id="33" creationId="{F6EB173B-7E66-87E9-4C3A-5912B4EB783E}"/>
          </ac:spMkLst>
        </pc:spChg>
        <pc:spChg chg="add del mod">
          <ac:chgData name="Daniel Cole" userId="f20a75f9320a1647" providerId="LiveId" clId="{42D3E951-AF5C-4164-98AB-2347A3B6E1E6}" dt="2024-03-21T14:18:31.018" v="13278" actId="478"/>
          <ac:spMkLst>
            <pc:docMk/>
            <pc:sldMk cId="2599160821" sldId="2147472864"/>
            <ac:spMk id="35" creationId="{C2AC9CA5-D5CA-27A2-8220-013DD43EC47D}"/>
          </ac:spMkLst>
        </pc:spChg>
        <pc:spChg chg="add del mod">
          <ac:chgData name="Daniel Cole" userId="f20a75f9320a1647" providerId="LiveId" clId="{42D3E951-AF5C-4164-98AB-2347A3B6E1E6}" dt="2024-03-21T14:39:38.824" v="13837"/>
          <ac:spMkLst>
            <pc:docMk/>
            <pc:sldMk cId="2599160821" sldId="2147472864"/>
            <ac:spMk id="36" creationId="{E3465C8A-585E-383C-FE2F-FC27171FCDD2}"/>
          </ac:spMkLst>
        </pc:spChg>
        <pc:spChg chg="add del mod">
          <ac:chgData name="Daniel Cole" userId="f20a75f9320a1647" providerId="LiveId" clId="{42D3E951-AF5C-4164-98AB-2347A3B6E1E6}" dt="2024-03-21T15:19:01.239" v="14486" actId="478"/>
          <ac:spMkLst>
            <pc:docMk/>
            <pc:sldMk cId="2599160821" sldId="2147472864"/>
            <ac:spMk id="37" creationId="{01402A76-DE42-D1C9-B8D1-11120CAE8347}"/>
          </ac:spMkLst>
        </pc:spChg>
        <pc:spChg chg="add del mod">
          <ac:chgData name="Daniel Cole" userId="f20a75f9320a1647" providerId="LiveId" clId="{42D3E951-AF5C-4164-98AB-2347A3B6E1E6}" dt="2024-03-21T15:37:19.970" v="14869" actId="478"/>
          <ac:spMkLst>
            <pc:docMk/>
            <pc:sldMk cId="2599160821" sldId="2147472864"/>
            <ac:spMk id="47" creationId="{53BE4CC2-2036-6954-0C74-F1F0C73F046D}"/>
          </ac:spMkLst>
        </pc:spChg>
        <pc:spChg chg="add del mod">
          <ac:chgData name="Daniel Cole" userId="f20a75f9320a1647" providerId="LiveId" clId="{42D3E951-AF5C-4164-98AB-2347A3B6E1E6}" dt="2024-03-21T15:38:06.418" v="14872" actId="478"/>
          <ac:spMkLst>
            <pc:docMk/>
            <pc:sldMk cId="2599160821" sldId="2147472864"/>
            <ac:spMk id="48" creationId="{CAA86242-40E0-5EB8-08E3-3A62D85FD2DB}"/>
          </ac:spMkLst>
        </pc:spChg>
        <pc:spChg chg="add del">
          <ac:chgData name="Daniel Cole" userId="f20a75f9320a1647" providerId="LiveId" clId="{42D3E951-AF5C-4164-98AB-2347A3B6E1E6}" dt="2024-03-21T15:38:32.372" v="14874" actId="11529"/>
          <ac:spMkLst>
            <pc:docMk/>
            <pc:sldMk cId="2599160821" sldId="2147472864"/>
            <ac:spMk id="49" creationId="{29BE85A9-5798-4C1E-B4C7-89F12240F28C}"/>
          </ac:spMkLst>
        </pc:spChg>
        <pc:spChg chg="add del mod">
          <ac:chgData name="Daniel Cole" userId="f20a75f9320a1647" providerId="LiveId" clId="{42D3E951-AF5C-4164-98AB-2347A3B6E1E6}" dt="2024-03-21T15:46:55.689" v="15017" actId="478"/>
          <ac:spMkLst>
            <pc:docMk/>
            <pc:sldMk cId="2599160821" sldId="2147472864"/>
            <ac:spMk id="50" creationId="{E5E93E99-C146-168F-4BCB-F53F6AF2209B}"/>
          </ac:spMkLst>
        </pc:spChg>
        <pc:spChg chg="add del mod">
          <ac:chgData name="Daniel Cole" userId="f20a75f9320a1647" providerId="LiveId" clId="{42D3E951-AF5C-4164-98AB-2347A3B6E1E6}" dt="2024-03-21T15:46:55.689" v="15017" actId="478"/>
          <ac:spMkLst>
            <pc:docMk/>
            <pc:sldMk cId="2599160821" sldId="2147472864"/>
            <ac:spMk id="51" creationId="{DEDB05D9-5249-961F-D30B-DDE43907BF00}"/>
          </ac:spMkLst>
        </pc:spChg>
        <pc:spChg chg="add del mod">
          <ac:chgData name="Daniel Cole" userId="f20a75f9320a1647" providerId="LiveId" clId="{42D3E951-AF5C-4164-98AB-2347A3B6E1E6}" dt="2024-03-21T15:46:55.689" v="15017" actId="478"/>
          <ac:spMkLst>
            <pc:docMk/>
            <pc:sldMk cId="2599160821" sldId="2147472864"/>
            <ac:spMk id="52" creationId="{E7DFD97B-67B9-48B9-64BA-4AFA77B5696A}"/>
          </ac:spMkLst>
        </pc:spChg>
        <pc:spChg chg="add del mod">
          <ac:chgData name="Daniel Cole" userId="f20a75f9320a1647" providerId="LiveId" clId="{42D3E951-AF5C-4164-98AB-2347A3B6E1E6}" dt="2024-03-21T15:46:55.689" v="15017" actId="478"/>
          <ac:spMkLst>
            <pc:docMk/>
            <pc:sldMk cId="2599160821" sldId="2147472864"/>
            <ac:spMk id="53" creationId="{C37BC483-C2E1-527A-B14B-5AB0B865DD5A}"/>
          </ac:spMkLst>
        </pc:spChg>
        <pc:spChg chg="mod">
          <ac:chgData name="Daniel Cole" userId="f20a75f9320a1647" providerId="LiveId" clId="{42D3E951-AF5C-4164-98AB-2347A3B6E1E6}" dt="2024-03-21T15:46:57.954" v="15018"/>
          <ac:spMkLst>
            <pc:docMk/>
            <pc:sldMk cId="2599160821" sldId="2147472864"/>
            <ac:spMk id="57" creationId="{2E2C8659-7AE8-F3E8-8267-31EC402E4B03}"/>
          </ac:spMkLst>
        </pc:spChg>
        <pc:spChg chg="mod">
          <ac:chgData name="Daniel Cole" userId="f20a75f9320a1647" providerId="LiveId" clId="{42D3E951-AF5C-4164-98AB-2347A3B6E1E6}" dt="2024-03-21T15:46:57.954" v="15018"/>
          <ac:spMkLst>
            <pc:docMk/>
            <pc:sldMk cId="2599160821" sldId="2147472864"/>
            <ac:spMk id="58" creationId="{63265BE7-B205-4960-31D1-BCF8A3E3EF87}"/>
          </ac:spMkLst>
        </pc:spChg>
        <pc:spChg chg="mod">
          <ac:chgData name="Daniel Cole" userId="f20a75f9320a1647" providerId="LiveId" clId="{42D3E951-AF5C-4164-98AB-2347A3B6E1E6}" dt="2024-03-21T15:50:09.154" v="15074"/>
          <ac:spMkLst>
            <pc:docMk/>
            <pc:sldMk cId="2599160821" sldId="2147472864"/>
            <ac:spMk id="60" creationId="{C94BEC88-5944-7C8D-DAFF-C391EEE48AB7}"/>
          </ac:spMkLst>
        </pc:spChg>
        <pc:spChg chg="mod">
          <ac:chgData name="Daniel Cole" userId="f20a75f9320a1647" providerId="LiveId" clId="{42D3E951-AF5C-4164-98AB-2347A3B6E1E6}" dt="2024-03-21T15:50:09.154" v="15074"/>
          <ac:spMkLst>
            <pc:docMk/>
            <pc:sldMk cId="2599160821" sldId="2147472864"/>
            <ac:spMk id="61" creationId="{43928EEE-2AA1-6ECF-F246-313C7E1872AE}"/>
          </ac:spMkLst>
        </pc:spChg>
        <pc:spChg chg="mod">
          <ac:chgData name="Daniel Cole" userId="f20a75f9320a1647" providerId="LiveId" clId="{42D3E951-AF5C-4164-98AB-2347A3B6E1E6}" dt="2024-03-21T15:50:08.005" v="15072"/>
          <ac:spMkLst>
            <pc:docMk/>
            <pc:sldMk cId="2599160821" sldId="2147472864"/>
            <ac:spMk id="63" creationId="{8CDCE83B-3B26-F1AD-703F-B26045F095F1}"/>
          </ac:spMkLst>
        </pc:spChg>
        <pc:spChg chg="mod">
          <ac:chgData name="Daniel Cole" userId="f20a75f9320a1647" providerId="LiveId" clId="{42D3E951-AF5C-4164-98AB-2347A3B6E1E6}" dt="2024-03-21T14:20:25.537" v="13334" actId="1035"/>
          <ac:spMkLst>
            <pc:docMk/>
            <pc:sldMk cId="2599160821" sldId="2147472864"/>
            <ac:spMk id="24576" creationId="{CA8DF49A-7188-EB52-3AA7-892241249D0C}"/>
          </ac:spMkLst>
        </pc:spChg>
        <pc:spChg chg="mod">
          <ac:chgData name="Daniel Cole" userId="f20a75f9320a1647" providerId="LiveId" clId="{42D3E951-AF5C-4164-98AB-2347A3B6E1E6}" dt="2024-03-21T15:50:08.005" v="15072"/>
          <ac:spMkLst>
            <pc:docMk/>
            <pc:sldMk cId="2599160821" sldId="2147472864"/>
            <ac:spMk id="24577" creationId="{BA2CB963-9EF1-E82C-6D7E-4E2B5AA4099E}"/>
          </ac:spMkLst>
        </pc:spChg>
        <pc:spChg chg="mod">
          <ac:chgData name="Daniel Cole" userId="f20a75f9320a1647" providerId="LiveId" clId="{42D3E951-AF5C-4164-98AB-2347A3B6E1E6}" dt="2024-03-21T15:50:03.051" v="15070"/>
          <ac:spMkLst>
            <pc:docMk/>
            <pc:sldMk cId="2599160821" sldId="2147472864"/>
            <ac:spMk id="24579" creationId="{811C2D8A-D46B-138A-54AA-B97DFDB6CBED}"/>
          </ac:spMkLst>
        </pc:spChg>
        <pc:spChg chg="mod">
          <ac:chgData name="Daniel Cole" userId="f20a75f9320a1647" providerId="LiveId" clId="{42D3E951-AF5C-4164-98AB-2347A3B6E1E6}" dt="2024-03-21T15:50:03.051" v="15070"/>
          <ac:spMkLst>
            <pc:docMk/>
            <pc:sldMk cId="2599160821" sldId="2147472864"/>
            <ac:spMk id="24580" creationId="{46E42E14-92CE-9488-EF9F-3B33027280A3}"/>
          </ac:spMkLst>
        </pc:spChg>
        <pc:spChg chg="add del mod">
          <ac:chgData name="Daniel Cole" userId="f20a75f9320a1647" providerId="LiveId" clId="{42D3E951-AF5C-4164-98AB-2347A3B6E1E6}" dt="2024-03-30T21:07:41.276" v="21288" actId="478"/>
          <ac:spMkLst>
            <pc:docMk/>
            <pc:sldMk cId="2599160821" sldId="2147472864"/>
            <ac:spMk id="24590" creationId="{D0B2C87B-6633-DE8A-7220-99FFC4DC20B0}"/>
          </ac:spMkLst>
        </pc:spChg>
        <pc:spChg chg="add del mod">
          <ac:chgData name="Daniel Cole" userId="f20a75f9320a1647" providerId="LiveId" clId="{42D3E951-AF5C-4164-98AB-2347A3B6E1E6}" dt="2024-03-30T20:37:48.873" v="20947" actId="478"/>
          <ac:spMkLst>
            <pc:docMk/>
            <pc:sldMk cId="2599160821" sldId="2147472864"/>
            <ac:spMk id="24592" creationId="{71A93BED-E6C5-C3B3-E11F-0027EDECE268}"/>
          </ac:spMkLst>
        </pc:spChg>
        <pc:spChg chg="mod">
          <ac:chgData name="Daniel Cole" userId="f20a75f9320a1647" providerId="LiveId" clId="{42D3E951-AF5C-4164-98AB-2347A3B6E1E6}" dt="2024-03-21T18:40:39.737" v="18409"/>
          <ac:spMkLst>
            <pc:docMk/>
            <pc:sldMk cId="2599160821" sldId="2147472864"/>
            <ac:spMk id="24594" creationId="{4397740B-5745-155F-5CDC-248A7D9DE34D}"/>
          </ac:spMkLst>
        </pc:spChg>
        <pc:spChg chg="mod">
          <ac:chgData name="Daniel Cole" userId="f20a75f9320a1647" providerId="LiveId" clId="{42D3E951-AF5C-4164-98AB-2347A3B6E1E6}" dt="2024-03-21T18:40:39.737" v="18409"/>
          <ac:spMkLst>
            <pc:docMk/>
            <pc:sldMk cId="2599160821" sldId="2147472864"/>
            <ac:spMk id="24595" creationId="{ADCA3C74-64FD-5F27-0B26-9ACB8E8B9B6D}"/>
          </ac:spMkLst>
        </pc:spChg>
        <pc:spChg chg="mod">
          <ac:chgData name="Daniel Cole" userId="f20a75f9320a1647" providerId="LiveId" clId="{42D3E951-AF5C-4164-98AB-2347A3B6E1E6}" dt="2024-03-21T18:40:39.737" v="18409"/>
          <ac:spMkLst>
            <pc:docMk/>
            <pc:sldMk cId="2599160821" sldId="2147472864"/>
            <ac:spMk id="24596" creationId="{0FAE14CA-9957-DA2B-0AA1-38D821D73855}"/>
          </ac:spMkLst>
        </pc:spChg>
        <pc:spChg chg="mod">
          <ac:chgData name="Daniel Cole" userId="f20a75f9320a1647" providerId="LiveId" clId="{42D3E951-AF5C-4164-98AB-2347A3B6E1E6}" dt="2024-03-21T18:41:08.146" v="18412"/>
          <ac:spMkLst>
            <pc:docMk/>
            <pc:sldMk cId="2599160821" sldId="2147472864"/>
            <ac:spMk id="24599" creationId="{D26120C1-52B6-F325-22B6-B33972DA7904}"/>
          </ac:spMkLst>
        </pc:spChg>
        <pc:spChg chg="mod">
          <ac:chgData name="Daniel Cole" userId="f20a75f9320a1647" providerId="LiveId" clId="{42D3E951-AF5C-4164-98AB-2347A3B6E1E6}" dt="2024-03-21T18:41:08.146" v="18412"/>
          <ac:spMkLst>
            <pc:docMk/>
            <pc:sldMk cId="2599160821" sldId="2147472864"/>
            <ac:spMk id="24600" creationId="{18EEFA30-0D66-805A-E4C5-4BCE1FCEF11E}"/>
          </ac:spMkLst>
        </pc:spChg>
        <pc:spChg chg="mod">
          <ac:chgData name="Daniel Cole" userId="f20a75f9320a1647" providerId="LiveId" clId="{42D3E951-AF5C-4164-98AB-2347A3B6E1E6}" dt="2024-03-21T18:41:08.146" v="18412"/>
          <ac:spMkLst>
            <pc:docMk/>
            <pc:sldMk cId="2599160821" sldId="2147472864"/>
            <ac:spMk id="24601" creationId="{6BDADC7C-C698-5D72-630C-43993824E332}"/>
          </ac:spMkLst>
        </pc:spChg>
        <pc:spChg chg="mod">
          <ac:chgData name="Daniel Cole" userId="f20a75f9320a1647" providerId="LiveId" clId="{42D3E951-AF5C-4164-98AB-2347A3B6E1E6}" dt="2024-03-21T18:41:08.146" v="18412"/>
          <ac:spMkLst>
            <pc:docMk/>
            <pc:sldMk cId="2599160821" sldId="2147472864"/>
            <ac:spMk id="24604" creationId="{E49A57E7-535A-5967-F7DE-70D97F9F2CB4}"/>
          </ac:spMkLst>
        </pc:spChg>
        <pc:spChg chg="mod">
          <ac:chgData name="Daniel Cole" userId="f20a75f9320a1647" providerId="LiveId" clId="{42D3E951-AF5C-4164-98AB-2347A3B6E1E6}" dt="2024-03-21T18:41:08.146" v="18412"/>
          <ac:spMkLst>
            <pc:docMk/>
            <pc:sldMk cId="2599160821" sldId="2147472864"/>
            <ac:spMk id="24605" creationId="{A7805CEC-8C95-3142-5A11-74D3862E3B77}"/>
          </ac:spMkLst>
        </pc:spChg>
        <pc:spChg chg="mod">
          <ac:chgData name="Daniel Cole" userId="f20a75f9320a1647" providerId="LiveId" clId="{42D3E951-AF5C-4164-98AB-2347A3B6E1E6}" dt="2024-03-21T18:41:08.146" v="18412"/>
          <ac:spMkLst>
            <pc:docMk/>
            <pc:sldMk cId="2599160821" sldId="2147472864"/>
            <ac:spMk id="24606" creationId="{8D306592-3146-1AC9-6BF3-1B81BBA7FA88}"/>
          </ac:spMkLst>
        </pc:spChg>
        <pc:spChg chg="mod">
          <ac:chgData name="Daniel Cole" userId="f20a75f9320a1647" providerId="LiveId" clId="{42D3E951-AF5C-4164-98AB-2347A3B6E1E6}" dt="2024-04-01T03:25:48.159" v="37641" actId="20577"/>
          <ac:spMkLst>
            <pc:docMk/>
            <pc:sldMk cId="2599160821" sldId="2147472864"/>
            <ac:spMk id="24609" creationId="{3AD4DADE-995B-2825-2FC5-71E578FA1FDB}"/>
          </ac:spMkLst>
        </pc:spChg>
        <pc:spChg chg="del mod">
          <ac:chgData name="Daniel Cole" userId="f20a75f9320a1647" providerId="LiveId" clId="{42D3E951-AF5C-4164-98AB-2347A3B6E1E6}" dt="2024-03-21T18:42:35.791" v="18483" actId="478"/>
          <ac:spMkLst>
            <pc:docMk/>
            <pc:sldMk cId="2599160821" sldId="2147472864"/>
            <ac:spMk id="24610" creationId="{59FE04EB-C367-5794-DAEE-2B07A7A4C15B}"/>
          </ac:spMkLst>
        </pc:spChg>
        <pc:spChg chg="mod">
          <ac:chgData name="Daniel Cole" userId="f20a75f9320a1647" providerId="LiveId" clId="{42D3E951-AF5C-4164-98AB-2347A3B6E1E6}" dt="2024-03-21T18:41:20.408" v="18415"/>
          <ac:spMkLst>
            <pc:docMk/>
            <pc:sldMk cId="2599160821" sldId="2147472864"/>
            <ac:spMk id="24611" creationId="{0FDCCA28-20E3-826C-2641-DD4BF1769FB6}"/>
          </ac:spMkLst>
        </pc:spChg>
        <pc:spChg chg="mod">
          <ac:chgData name="Daniel Cole" userId="f20a75f9320a1647" providerId="LiveId" clId="{42D3E951-AF5C-4164-98AB-2347A3B6E1E6}" dt="2024-03-21T18:55:39.388" v="18696" actId="12788"/>
          <ac:spMkLst>
            <pc:docMk/>
            <pc:sldMk cId="2599160821" sldId="2147472864"/>
            <ac:spMk id="24615" creationId="{1D8D7BDA-9D4A-EC17-FB5B-620198289D89}"/>
          </ac:spMkLst>
        </pc:spChg>
        <pc:grpChg chg="add del mod">
          <ac:chgData name="Daniel Cole" userId="f20a75f9320a1647" providerId="LiveId" clId="{42D3E951-AF5C-4164-98AB-2347A3B6E1E6}" dt="2024-03-21T14:20:31.630" v="13335" actId="478"/>
          <ac:grpSpMkLst>
            <pc:docMk/>
            <pc:sldMk cId="2599160821" sldId="2147472864"/>
            <ac:grpSpMk id="17" creationId="{9EB24CD9-ECA3-4362-B045-AA988C25829D}"/>
          </ac:grpSpMkLst>
        </pc:grpChg>
        <pc:grpChg chg="add del mod">
          <ac:chgData name="Daniel Cole" userId="f20a75f9320a1647" providerId="LiveId" clId="{42D3E951-AF5C-4164-98AB-2347A3B6E1E6}" dt="2024-03-21T14:20:38.526" v="13336" actId="478"/>
          <ac:grpSpMkLst>
            <pc:docMk/>
            <pc:sldMk cId="2599160821" sldId="2147472864"/>
            <ac:grpSpMk id="23" creationId="{E30106C5-7C6D-126E-B035-8997586DAAD4}"/>
          </ac:grpSpMkLst>
        </pc:grpChg>
        <pc:grpChg chg="add del mod">
          <ac:chgData name="Daniel Cole" userId="f20a75f9320a1647" providerId="LiveId" clId="{42D3E951-AF5C-4164-98AB-2347A3B6E1E6}" dt="2024-03-21T14:20:51.087" v="13339" actId="478"/>
          <ac:grpSpMkLst>
            <pc:docMk/>
            <pc:sldMk cId="2599160821" sldId="2147472864"/>
            <ac:grpSpMk id="30" creationId="{7120E7E6-D35F-8E80-49EB-E8F90B8F8848}"/>
          </ac:grpSpMkLst>
        </pc:grpChg>
        <pc:grpChg chg="add del mod">
          <ac:chgData name="Daniel Cole" userId="f20a75f9320a1647" providerId="LiveId" clId="{42D3E951-AF5C-4164-98AB-2347A3B6E1E6}" dt="2024-03-21T15:50:19.202" v="15079" actId="478"/>
          <ac:grpSpMkLst>
            <pc:docMk/>
            <pc:sldMk cId="2599160821" sldId="2147472864"/>
            <ac:grpSpMk id="56" creationId="{EA94FD8D-9D50-5325-AE0F-FB5E19425DE9}"/>
          </ac:grpSpMkLst>
        </pc:grpChg>
        <pc:grpChg chg="add mod">
          <ac:chgData name="Daniel Cole" userId="f20a75f9320a1647" providerId="LiveId" clId="{42D3E951-AF5C-4164-98AB-2347A3B6E1E6}" dt="2024-03-21T15:50:09.154" v="15074"/>
          <ac:grpSpMkLst>
            <pc:docMk/>
            <pc:sldMk cId="2599160821" sldId="2147472864"/>
            <ac:grpSpMk id="59" creationId="{0AEF09BD-024A-96A6-983B-A54FD6055EB4}"/>
          </ac:grpSpMkLst>
        </pc:grpChg>
        <pc:grpChg chg="add mod">
          <ac:chgData name="Daniel Cole" userId="f20a75f9320a1647" providerId="LiveId" clId="{42D3E951-AF5C-4164-98AB-2347A3B6E1E6}" dt="2024-03-21T15:50:08.005" v="15072"/>
          <ac:grpSpMkLst>
            <pc:docMk/>
            <pc:sldMk cId="2599160821" sldId="2147472864"/>
            <ac:grpSpMk id="62" creationId="{6366BCED-0A8C-3D9C-96AE-F205CC48AA38}"/>
          </ac:grpSpMkLst>
        </pc:grpChg>
        <pc:grpChg chg="add mod">
          <ac:chgData name="Daniel Cole" userId="f20a75f9320a1647" providerId="LiveId" clId="{42D3E951-AF5C-4164-98AB-2347A3B6E1E6}" dt="2024-03-21T15:50:03.051" v="15070"/>
          <ac:grpSpMkLst>
            <pc:docMk/>
            <pc:sldMk cId="2599160821" sldId="2147472864"/>
            <ac:grpSpMk id="24578" creationId="{7FF52BCA-48A7-67DB-BC58-42C1FB35200A}"/>
          </ac:grpSpMkLst>
        </pc:grpChg>
        <pc:grpChg chg="add mod">
          <ac:chgData name="Daniel Cole" userId="f20a75f9320a1647" providerId="LiveId" clId="{42D3E951-AF5C-4164-98AB-2347A3B6E1E6}" dt="2024-03-21T18:44:33.774" v="18505" actId="1036"/>
          <ac:grpSpMkLst>
            <pc:docMk/>
            <pc:sldMk cId="2599160821" sldId="2147472864"/>
            <ac:grpSpMk id="24581" creationId="{4B632A29-0E2D-222B-4DF9-EC7F8C0B331D}"/>
          </ac:grpSpMkLst>
        </pc:grpChg>
        <pc:grpChg chg="add mod">
          <ac:chgData name="Daniel Cole" userId="f20a75f9320a1647" providerId="LiveId" clId="{42D3E951-AF5C-4164-98AB-2347A3B6E1E6}" dt="2024-03-21T17:57:55.570" v="17865" actId="164"/>
          <ac:grpSpMkLst>
            <pc:docMk/>
            <pc:sldMk cId="2599160821" sldId="2147472864"/>
            <ac:grpSpMk id="24582" creationId="{2CCE2166-EFF6-8CFA-71F2-D977DABFA7CE}"/>
          </ac:grpSpMkLst>
        </pc:grpChg>
        <pc:grpChg chg="add mod">
          <ac:chgData name="Daniel Cole" userId="f20a75f9320a1647" providerId="LiveId" clId="{42D3E951-AF5C-4164-98AB-2347A3B6E1E6}" dt="2024-03-21T17:58:00.800" v="17867" actId="164"/>
          <ac:grpSpMkLst>
            <pc:docMk/>
            <pc:sldMk cId="2599160821" sldId="2147472864"/>
            <ac:grpSpMk id="24583" creationId="{F1BDEA9D-5835-A259-C67B-EF7913B4F94E}"/>
          </ac:grpSpMkLst>
        </pc:grpChg>
        <pc:grpChg chg="add mod topLvl">
          <ac:chgData name="Daniel Cole" userId="f20a75f9320a1647" providerId="LiveId" clId="{42D3E951-AF5C-4164-98AB-2347A3B6E1E6}" dt="2024-03-21T17:58:34.881" v="17875" actId="164"/>
          <ac:grpSpMkLst>
            <pc:docMk/>
            <pc:sldMk cId="2599160821" sldId="2147472864"/>
            <ac:grpSpMk id="24584" creationId="{60B44323-5818-4306-DD87-A46CC882E248}"/>
          </ac:grpSpMkLst>
        </pc:grpChg>
        <pc:grpChg chg="add del mod">
          <ac:chgData name="Daniel Cole" userId="f20a75f9320a1647" providerId="LiveId" clId="{42D3E951-AF5C-4164-98AB-2347A3B6E1E6}" dt="2024-03-21T17:58:34.599" v="17874" actId="164"/>
          <ac:grpSpMkLst>
            <pc:docMk/>
            <pc:sldMk cId="2599160821" sldId="2147472864"/>
            <ac:grpSpMk id="24585" creationId="{4EF6FBF4-C039-956B-9896-5FB99A5933A4}"/>
          </ac:grpSpMkLst>
        </pc:grpChg>
        <pc:grpChg chg="add mod">
          <ac:chgData name="Daniel Cole" userId="f20a75f9320a1647" providerId="LiveId" clId="{42D3E951-AF5C-4164-98AB-2347A3B6E1E6}" dt="2024-03-21T18:44:33.774" v="18505" actId="1036"/>
          <ac:grpSpMkLst>
            <pc:docMk/>
            <pc:sldMk cId="2599160821" sldId="2147472864"/>
            <ac:grpSpMk id="24586" creationId="{05895B34-54CF-99DB-8208-0A8148A26E54}"/>
          </ac:grpSpMkLst>
        </pc:grpChg>
        <pc:grpChg chg="add mod ord">
          <ac:chgData name="Daniel Cole" userId="f20a75f9320a1647" providerId="LiveId" clId="{42D3E951-AF5C-4164-98AB-2347A3B6E1E6}" dt="2024-03-21T18:44:33.774" v="18505" actId="1036"/>
          <ac:grpSpMkLst>
            <pc:docMk/>
            <pc:sldMk cId="2599160821" sldId="2147472864"/>
            <ac:grpSpMk id="24587" creationId="{7DE13238-22BE-391B-0329-0D3AC8D422C7}"/>
          </ac:grpSpMkLst>
        </pc:grpChg>
        <pc:grpChg chg="add mod">
          <ac:chgData name="Daniel Cole" userId="f20a75f9320a1647" providerId="LiveId" clId="{42D3E951-AF5C-4164-98AB-2347A3B6E1E6}" dt="2024-03-21T18:44:33.774" v="18505" actId="1036"/>
          <ac:grpSpMkLst>
            <pc:docMk/>
            <pc:sldMk cId="2599160821" sldId="2147472864"/>
            <ac:grpSpMk id="24588" creationId="{F502453A-3173-AEC1-C236-6EC3609661DF}"/>
          </ac:grpSpMkLst>
        </pc:grpChg>
        <pc:grpChg chg="add mod">
          <ac:chgData name="Daniel Cole" userId="f20a75f9320a1647" providerId="LiveId" clId="{42D3E951-AF5C-4164-98AB-2347A3B6E1E6}" dt="2024-03-21T18:40:39.737" v="18409"/>
          <ac:grpSpMkLst>
            <pc:docMk/>
            <pc:sldMk cId="2599160821" sldId="2147472864"/>
            <ac:grpSpMk id="24593" creationId="{151DE7FA-689C-F06F-BC3F-1049820A534C}"/>
          </ac:grpSpMkLst>
        </pc:grpChg>
        <pc:grpChg chg="add del mod">
          <ac:chgData name="Daniel Cole" userId="f20a75f9320a1647" providerId="LiveId" clId="{42D3E951-AF5C-4164-98AB-2347A3B6E1E6}" dt="2024-03-21T18:41:16.368" v="18414" actId="478"/>
          <ac:grpSpMkLst>
            <pc:docMk/>
            <pc:sldMk cId="2599160821" sldId="2147472864"/>
            <ac:grpSpMk id="24598" creationId="{0BB244AD-C453-8EC3-48CA-F2D7D00ED8A1}"/>
          </ac:grpSpMkLst>
        </pc:grpChg>
        <pc:grpChg chg="add del mod">
          <ac:chgData name="Daniel Cole" userId="f20a75f9320a1647" providerId="LiveId" clId="{42D3E951-AF5C-4164-98AB-2347A3B6E1E6}" dt="2024-03-21T18:41:16.368" v="18414" actId="478"/>
          <ac:grpSpMkLst>
            <pc:docMk/>
            <pc:sldMk cId="2599160821" sldId="2147472864"/>
            <ac:grpSpMk id="24603" creationId="{A504D8C8-AA2D-053B-21BA-460F06CECA69}"/>
          </ac:grpSpMkLst>
        </pc:grpChg>
        <pc:grpChg chg="add mod">
          <ac:chgData name="Daniel Cole" userId="f20a75f9320a1647" providerId="LiveId" clId="{42D3E951-AF5C-4164-98AB-2347A3B6E1E6}" dt="2024-03-21T18:44:33.774" v="18505" actId="1036"/>
          <ac:grpSpMkLst>
            <pc:docMk/>
            <pc:sldMk cId="2599160821" sldId="2147472864"/>
            <ac:grpSpMk id="24608" creationId="{44D9F0DB-7CA0-1142-19BA-46906F1D0FA4}"/>
          </ac:grpSpMkLst>
        </pc:grpChg>
        <pc:grpChg chg="add mod">
          <ac:chgData name="Daniel Cole" userId="f20a75f9320a1647" providerId="LiveId" clId="{42D3E951-AF5C-4164-98AB-2347A3B6E1E6}" dt="2024-03-21T18:55:39.388" v="18696" actId="12788"/>
          <ac:grpSpMkLst>
            <pc:docMk/>
            <pc:sldMk cId="2599160821" sldId="2147472864"/>
            <ac:grpSpMk id="24613" creationId="{78AD89A7-A7B2-3855-2D60-2AA030EE52DA}"/>
          </ac:grpSpMkLst>
        </pc:grpChg>
        <pc:picChg chg="add del mod">
          <ac:chgData name="Daniel Cole" userId="f20a75f9320a1647" providerId="LiveId" clId="{42D3E951-AF5C-4164-98AB-2347A3B6E1E6}" dt="2024-03-21T15:12:32.663" v="14381" actId="478"/>
          <ac:picMkLst>
            <pc:docMk/>
            <pc:sldMk cId="2599160821" sldId="2147472864"/>
            <ac:picMk id="38" creationId="{9E391029-1685-D38B-8B82-F5CB02108289}"/>
          </ac:picMkLst>
        </pc:picChg>
        <pc:picChg chg="add mod">
          <ac:chgData name="Daniel Cole" userId="f20a75f9320a1647" providerId="LiveId" clId="{42D3E951-AF5C-4164-98AB-2347A3B6E1E6}" dt="2024-03-21T18:43:31.468" v="18490" actId="1037"/>
          <ac:picMkLst>
            <pc:docMk/>
            <pc:sldMk cId="2599160821" sldId="2147472864"/>
            <ac:picMk id="40" creationId="{92A15F80-C85D-1B02-C6AF-7AEA5748F3F6}"/>
          </ac:picMkLst>
        </pc:picChg>
        <pc:picChg chg="add mod">
          <ac:chgData name="Daniel Cole" userId="f20a75f9320a1647" providerId="LiveId" clId="{42D3E951-AF5C-4164-98AB-2347A3B6E1E6}" dt="2024-03-21T17:58:48.498" v="17878" actId="164"/>
          <ac:picMkLst>
            <pc:docMk/>
            <pc:sldMk cId="2599160821" sldId="2147472864"/>
            <ac:picMk id="42" creationId="{FBC26F49-A217-BA2F-36F5-3EFC4C6B1AC7}"/>
          </ac:picMkLst>
        </pc:picChg>
        <pc:picChg chg="add mod">
          <ac:chgData name="Daniel Cole" userId="f20a75f9320a1647" providerId="LiveId" clId="{42D3E951-AF5C-4164-98AB-2347A3B6E1E6}" dt="2024-03-21T18:02:32.853" v="17900" actId="164"/>
          <ac:picMkLst>
            <pc:docMk/>
            <pc:sldMk cId="2599160821" sldId="2147472864"/>
            <ac:picMk id="44" creationId="{C79A7937-8839-A6F6-FAB3-F286B44AD977}"/>
          </ac:picMkLst>
        </pc:picChg>
        <pc:picChg chg="add mod">
          <ac:chgData name="Daniel Cole" userId="f20a75f9320a1647" providerId="LiveId" clId="{42D3E951-AF5C-4164-98AB-2347A3B6E1E6}" dt="2024-03-21T18:43:15.498" v="18488" actId="1076"/>
          <ac:picMkLst>
            <pc:docMk/>
            <pc:sldMk cId="2599160821" sldId="2147472864"/>
            <ac:picMk id="46" creationId="{6D9222DC-489D-9A4D-8315-8C5A57BFA29C}"/>
          </ac:picMkLst>
        </pc:picChg>
        <pc:picChg chg="add del mod">
          <ac:chgData name="Daniel Cole" userId="f20a75f9320a1647" providerId="LiveId" clId="{42D3E951-AF5C-4164-98AB-2347A3B6E1E6}" dt="2024-03-21T15:43:37.524" v="14953" actId="478"/>
          <ac:picMkLst>
            <pc:docMk/>
            <pc:sldMk cId="2599160821" sldId="2147472864"/>
            <ac:picMk id="55" creationId="{373FEA75-DB23-5636-F432-B33FF59F79CC}"/>
          </ac:picMkLst>
        </pc:picChg>
        <pc:picChg chg="mod">
          <ac:chgData name="Daniel Cole" userId="f20a75f9320a1647" providerId="LiveId" clId="{42D3E951-AF5C-4164-98AB-2347A3B6E1E6}" dt="2024-03-21T18:40:39.737" v="18409"/>
          <ac:picMkLst>
            <pc:docMk/>
            <pc:sldMk cId="2599160821" sldId="2147472864"/>
            <ac:picMk id="24597" creationId="{0A969BC2-EFBF-26F2-02B9-F3A80A0878D5}"/>
          </ac:picMkLst>
        </pc:picChg>
        <pc:picChg chg="mod">
          <ac:chgData name="Daniel Cole" userId="f20a75f9320a1647" providerId="LiveId" clId="{42D3E951-AF5C-4164-98AB-2347A3B6E1E6}" dt="2024-03-21T18:41:08.146" v="18412"/>
          <ac:picMkLst>
            <pc:docMk/>
            <pc:sldMk cId="2599160821" sldId="2147472864"/>
            <ac:picMk id="24602" creationId="{9D12FECB-BB54-0254-372B-37AC221A48AF}"/>
          </ac:picMkLst>
        </pc:picChg>
        <pc:picChg chg="mod">
          <ac:chgData name="Daniel Cole" userId="f20a75f9320a1647" providerId="LiveId" clId="{42D3E951-AF5C-4164-98AB-2347A3B6E1E6}" dt="2024-03-21T18:41:08.146" v="18412"/>
          <ac:picMkLst>
            <pc:docMk/>
            <pc:sldMk cId="2599160821" sldId="2147472864"/>
            <ac:picMk id="24607" creationId="{A32E4477-BE48-7C4A-14BF-65DD01C30C47}"/>
          </ac:picMkLst>
        </pc:picChg>
        <pc:picChg chg="del mod">
          <ac:chgData name="Daniel Cole" userId="f20a75f9320a1647" providerId="LiveId" clId="{42D3E951-AF5C-4164-98AB-2347A3B6E1E6}" dt="2024-03-21T18:43:07.548" v="18487" actId="478"/>
          <ac:picMkLst>
            <pc:docMk/>
            <pc:sldMk cId="2599160821" sldId="2147472864"/>
            <ac:picMk id="24612" creationId="{93EDEFC7-3EB4-45C6-6193-E8B33EE63512}"/>
          </ac:picMkLst>
        </pc:picChg>
        <pc:cxnChg chg="mod">
          <ac:chgData name="Daniel Cole" userId="f20a75f9320a1647" providerId="LiveId" clId="{42D3E951-AF5C-4164-98AB-2347A3B6E1E6}" dt="2024-03-21T18:55:39.388" v="18696" actId="12788"/>
          <ac:cxnSpMkLst>
            <pc:docMk/>
            <pc:sldMk cId="2599160821" sldId="2147472864"/>
            <ac:cxnSpMk id="24614" creationId="{E2DC8B8A-8C51-AF17-9013-C85F49E87810}"/>
          </ac:cxnSpMkLst>
        </pc:cxnChg>
      </pc:sldChg>
      <pc:sldChg chg="modSp add mod ord">
        <pc:chgData name="Daniel Cole" userId="f20a75f9320a1647" providerId="LiveId" clId="{42D3E951-AF5C-4164-98AB-2347A3B6E1E6}" dt="2024-03-21T19:07:04.864" v="18783" actId="14100"/>
        <pc:sldMkLst>
          <pc:docMk/>
          <pc:sldMk cId="3149350770" sldId="2147472865"/>
        </pc:sldMkLst>
        <pc:spChg chg="mod">
          <ac:chgData name="Daniel Cole" userId="f20a75f9320a1647" providerId="LiveId" clId="{42D3E951-AF5C-4164-98AB-2347A3B6E1E6}" dt="2024-03-21T19:07:04.864" v="18783" actId="14100"/>
          <ac:spMkLst>
            <pc:docMk/>
            <pc:sldMk cId="3149350770" sldId="2147472865"/>
            <ac:spMk id="7" creationId="{B78FD69E-A913-AB72-7388-F9C0CDB98791}"/>
          </ac:spMkLst>
        </pc:spChg>
        <pc:spChg chg="mod">
          <ac:chgData name="Daniel Cole" userId="f20a75f9320a1647" providerId="LiveId" clId="{42D3E951-AF5C-4164-98AB-2347A3B6E1E6}" dt="2024-03-21T19:06:19.165" v="18751" actId="20577"/>
          <ac:spMkLst>
            <pc:docMk/>
            <pc:sldMk cId="3149350770" sldId="2147472865"/>
            <ac:spMk id="8" creationId="{4E9F585E-56D4-3165-2C7F-474DECC838ED}"/>
          </ac:spMkLst>
        </pc:spChg>
      </pc:sldChg>
      <pc:sldChg chg="add">
        <pc:chgData name="Daniel Cole" userId="f20a75f9320a1647" providerId="LiveId" clId="{42D3E951-AF5C-4164-98AB-2347A3B6E1E6}" dt="2024-03-21T19:10:06.709" v="18841" actId="2890"/>
        <pc:sldMkLst>
          <pc:docMk/>
          <pc:sldMk cId="4150823557" sldId="2147472866"/>
        </pc:sldMkLst>
      </pc:sldChg>
      <pc:sldChg chg="addSp delSp modSp add del mod">
        <pc:chgData name="Daniel Cole" userId="f20a75f9320a1647" providerId="LiveId" clId="{42D3E951-AF5C-4164-98AB-2347A3B6E1E6}" dt="2024-03-30T20:33:40.461" v="20939" actId="14100"/>
        <pc:sldMkLst>
          <pc:docMk/>
          <pc:sldMk cId="4114144062" sldId="2147472867"/>
        </pc:sldMkLst>
        <pc:spChg chg="mod">
          <ac:chgData name="Daniel Cole" userId="f20a75f9320a1647" providerId="LiveId" clId="{42D3E951-AF5C-4164-98AB-2347A3B6E1E6}" dt="2024-03-30T20:28:41.684" v="20917" actId="12789"/>
          <ac:spMkLst>
            <pc:docMk/>
            <pc:sldMk cId="4114144062" sldId="2147472867"/>
            <ac:spMk id="5" creationId="{C0468C2B-2B0D-489F-945D-E78C22E53FD2}"/>
          </ac:spMkLst>
        </pc:spChg>
        <pc:spChg chg="del">
          <ac:chgData name="Daniel Cole" userId="f20a75f9320a1647" providerId="LiveId" clId="{42D3E951-AF5C-4164-98AB-2347A3B6E1E6}" dt="2024-03-30T18:21:43.877" v="19720" actId="478"/>
          <ac:spMkLst>
            <pc:docMk/>
            <pc:sldMk cId="4114144062" sldId="2147472867"/>
            <ac:spMk id="8" creationId="{39446107-B90F-DDC0-5012-FB07DDDAFAA3}"/>
          </ac:spMkLst>
        </pc:spChg>
        <pc:spChg chg="mod topLvl">
          <ac:chgData name="Daniel Cole" userId="f20a75f9320a1647" providerId="LiveId" clId="{42D3E951-AF5C-4164-98AB-2347A3B6E1E6}" dt="2024-03-30T20:31:24.004" v="20925" actId="165"/>
          <ac:spMkLst>
            <pc:docMk/>
            <pc:sldMk cId="4114144062" sldId="2147472867"/>
            <ac:spMk id="11" creationId="{C2057850-1618-D882-7F94-5F1EB0E3A049}"/>
          </ac:spMkLst>
        </pc:spChg>
        <pc:spChg chg="del">
          <ac:chgData name="Daniel Cole" userId="f20a75f9320a1647" providerId="LiveId" clId="{42D3E951-AF5C-4164-98AB-2347A3B6E1E6}" dt="2024-03-30T18:22:00.049" v="19721" actId="478"/>
          <ac:spMkLst>
            <pc:docMk/>
            <pc:sldMk cId="4114144062" sldId="2147472867"/>
            <ac:spMk id="16" creationId="{C6AF5C76-891F-6C3C-181A-5C7F39F0F39E}"/>
          </ac:spMkLst>
        </pc:spChg>
        <pc:spChg chg="mod">
          <ac:chgData name="Daniel Cole" userId="f20a75f9320a1647" providerId="LiveId" clId="{42D3E951-AF5C-4164-98AB-2347A3B6E1E6}" dt="2024-03-30T20:29:00.160" v="20918" actId="1076"/>
          <ac:spMkLst>
            <pc:docMk/>
            <pc:sldMk cId="4114144062" sldId="2147472867"/>
            <ac:spMk id="17" creationId="{A32291C7-5ED5-75E2-018B-D7072DBD7DF7}"/>
          </ac:spMkLst>
        </pc:spChg>
        <pc:spChg chg="mod">
          <ac:chgData name="Daniel Cole" userId="f20a75f9320a1647" providerId="LiveId" clId="{42D3E951-AF5C-4164-98AB-2347A3B6E1E6}" dt="2024-03-30T20:28:00.975" v="20911" actId="14100"/>
          <ac:spMkLst>
            <pc:docMk/>
            <pc:sldMk cId="4114144062" sldId="2147472867"/>
            <ac:spMk id="18" creationId="{FB8D6AF2-B608-C346-C3C7-5F4BE9BA1514}"/>
          </ac:spMkLst>
        </pc:spChg>
        <pc:spChg chg="mod">
          <ac:chgData name="Daniel Cole" userId="f20a75f9320a1647" providerId="LiveId" clId="{42D3E951-AF5C-4164-98AB-2347A3B6E1E6}" dt="2024-03-30T20:28:00.975" v="20911" actId="14100"/>
          <ac:spMkLst>
            <pc:docMk/>
            <pc:sldMk cId="4114144062" sldId="2147472867"/>
            <ac:spMk id="19" creationId="{51121C87-A51A-D1E5-2331-81F55141D79C}"/>
          </ac:spMkLst>
        </pc:spChg>
        <pc:spChg chg="del">
          <ac:chgData name="Daniel Cole" userId="f20a75f9320a1647" providerId="LiveId" clId="{42D3E951-AF5C-4164-98AB-2347A3B6E1E6}" dt="2024-03-30T18:22:12.956" v="19722" actId="478"/>
          <ac:spMkLst>
            <pc:docMk/>
            <pc:sldMk cId="4114144062" sldId="2147472867"/>
            <ac:spMk id="20" creationId="{EFE2F8D7-497D-A9F0-05BA-E89C33E490A9}"/>
          </ac:spMkLst>
        </pc:spChg>
        <pc:spChg chg="mod">
          <ac:chgData name="Daniel Cole" userId="f20a75f9320a1647" providerId="LiveId" clId="{42D3E951-AF5C-4164-98AB-2347A3B6E1E6}" dt="2024-03-30T20:29:12.279" v="20920" actId="1076"/>
          <ac:spMkLst>
            <pc:docMk/>
            <pc:sldMk cId="4114144062" sldId="2147472867"/>
            <ac:spMk id="21" creationId="{2E301770-C394-CADB-8269-EF9A401338DE}"/>
          </ac:spMkLst>
        </pc:spChg>
        <pc:spChg chg="mod">
          <ac:chgData name="Daniel Cole" userId="f20a75f9320a1647" providerId="LiveId" clId="{42D3E951-AF5C-4164-98AB-2347A3B6E1E6}" dt="2024-03-30T20:29:20.885" v="20921" actId="1076"/>
          <ac:spMkLst>
            <pc:docMk/>
            <pc:sldMk cId="4114144062" sldId="2147472867"/>
            <ac:spMk id="22" creationId="{7851C8CB-FA09-FCD3-635B-61E3EA2321A4}"/>
          </ac:spMkLst>
        </pc:spChg>
        <pc:spChg chg="del">
          <ac:chgData name="Daniel Cole" userId="f20a75f9320a1647" providerId="LiveId" clId="{42D3E951-AF5C-4164-98AB-2347A3B6E1E6}" dt="2024-03-30T18:22:12.956" v="19722" actId="478"/>
          <ac:spMkLst>
            <pc:docMk/>
            <pc:sldMk cId="4114144062" sldId="2147472867"/>
            <ac:spMk id="23" creationId="{5043CFF4-4F54-3921-AF31-D18981FE5FBD}"/>
          </ac:spMkLst>
        </pc:spChg>
        <pc:spChg chg="del">
          <ac:chgData name="Daniel Cole" userId="f20a75f9320a1647" providerId="LiveId" clId="{42D3E951-AF5C-4164-98AB-2347A3B6E1E6}" dt="2024-03-30T18:22:12.956" v="19722" actId="478"/>
          <ac:spMkLst>
            <pc:docMk/>
            <pc:sldMk cId="4114144062" sldId="2147472867"/>
            <ac:spMk id="24" creationId="{C86C380B-5A0C-2601-0C58-587CCD422195}"/>
          </ac:spMkLst>
        </pc:spChg>
        <pc:spChg chg="del">
          <ac:chgData name="Daniel Cole" userId="f20a75f9320a1647" providerId="LiveId" clId="{42D3E951-AF5C-4164-98AB-2347A3B6E1E6}" dt="2024-03-30T18:22:12.956" v="19722" actId="478"/>
          <ac:spMkLst>
            <pc:docMk/>
            <pc:sldMk cId="4114144062" sldId="2147472867"/>
            <ac:spMk id="25" creationId="{B0FE372C-128F-3A34-D80B-170E9A4C2E7E}"/>
          </ac:spMkLst>
        </pc:spChg>
        <pc:spChg chg="del mod">
          <ac:chgData name="Daniel Cole" userId="f20a75f9320a1647" providerId="LiveId" clId="{42D3E951-AF5C-4164-98AB-2347A3B6E1E6}" dt="2024-03-29T20:20:35.687" v="19600" actId="478"/>
          <ac:spMkLst>
            <pc:docMk/>
            <pc:sldMk cId="4114144062" sldId="2147472867"/>
            <ac:spMk id="26" creationId="{045F78D6-8E34-A985-A22B-75461A8BF914}"/>
          </ac:spMkLst>
        </pc:spChg>
        <pc:spChg chg="del mod">
          <ac:chgData name="Daniel Cole" userId="f20a75f9320a1647" providerId="LiveId" clId="{42D3E951-AF5C-4164-98AB-2347A3B6E1E6}" dt="2024-03-29T20:20:35.687" v="19600" actId="478"/>
          <ac:spMkLst>
            <pc:docMk/>
            <pc:sldMk cId="4114144062" sldId="2147472867"/>
            <ac:spMk id="27" creationId="{357F06A2-7F81-AC01-7996-CB9EDB778E81}"/>
          </ac:spMkLst>
        </pc:spChg>
        <pc:spChg chg="del mod">
          <ac:chgData name="Daniel Cole" userId="f20a75f9320a1647" providerId="LiveId" clId="{42D3E951-AF5C-4164-98AB-2347A3B6E1E6}" dt="2024-03-29T20:20:35.687" v="19600" actId="478"/>
          <ac:spMkLst>
            <pc:docMk/>
            <pc:sldMk cId="4114144062" sldId="2147472867"/>
            <ac:spMk id="28" creationId="{2CC99DF5-7F9D-7E03-B7EE-64D2144BC84F}"/>
          </ac:spMkLst>
        </pc:spChg>
        <pc:spChg chg="del mod">
          <ac:chgData name="Daniel Cole" userId="f20a75f9320a1647" providerId="LiveId" clId="{42D3E951-AF5C-4164-98AB-2347A3B6E1E6}" dt="2024-03-29T20:20:35.687" v="19600" actId="478"/>
          <ac:spMkLst>
            <pc:docMk/>
            <pc:sldMk cId="4114144062" sldId="2147472867"/>
            <ac:spMk id="29" creationId="{1A7E7B71-673B-F6E0-C57F-A794D02BF245}"/>
          </ac:spMkLst>
        </pc:spChg>
        <pc:spChg chg="del mod">
          <ac:chgData name="Daniel Cole" userId="f20a75f9320a1647" providerId="LiveId" clId="{42D3E951-AF5C-4164-98AB-2347A3B6E1E6}" dt="2024-03-29T20:20:35.687" v="19600" actId="478"/>
          <ac:spMkLst>
            <pc:docMk/>
            <pc:sldMk cId="4114144062" sldId="2147472867"/>
            <ac:spMk id="30" creationId="{AAE70A66-6A34-76CD-4D2F-70213FDE1DB4}"/>
          </ac:spMkLst>
        </pc:spChg>
        <pc:spChg chg="add mod">
          <ac:chgData name="Daniel Cole" userId="f20a75f9320a1647" providerId="LiveId" clId="{42D3E951-AF5C-4164-98AB-2347A3B6E1E6}" dt="2024-03-30T20:29:08.392" v="20919" actId="1076"/>
          <ac:spMkLst>
            <pc:docMk/>
            <pc:sldMk cId="4114144062" sldId="2147472867"/>
            <ac:spMk id="33" creationId="{6990BD71-2465-4379-A4D7-7FBCAA4652A8}"/>
          </ac:spMkLst>
        </pc:spChg>
        <pc:spChg chg="add mod">
          <ac:chgData name="Daniel Cole" userId="f20a75f9320a1647" providerId="LiveId" clId="{42D3E951-AF5C-4164-98AB-2347A3B6E1E6}" dt="2024-03-23T20:39:11.238" v="19548"/>
          <ac:spMkLst>
            <pc:docMk/>
            <pc:sldMk cId="4114144062" sldId="2147472867"/>
            <ac:spMk id="34" creationId="{761A91A7-7DF6-C97A-926B-C36514E42CAD}"/>
          </ac:spMkLst>
        </pc:spChg>
        <pc:spChg chg="add mod">
          <ac:chgData name="Daniel Cole" userId="f20a75f9320a1647" providerId="LiveId" clId="{42D3E951-AF5C-4164-98AB-2347A3B6E1E6}" dt="2024-03-30T20:28:00.975" v="20911" actId="14100"/>
          <ac:spMkLst>
            <pc:docMk/>
            <pc:sldMk cId="4114144062" sldId="2147472867"/>
            <ac:spMk id="48" creationId="{DE545F7E-B13E-7023-A593-F038A6EA5D7B}"/>
          </ac:spMkLst>
        </pc:spChg>
        <pc:spChg chg="mod">
          <ac:chgData name="Daniel Cole" userId="f20a75f9320a1647" providerId="LiveId" clId="{42D3E951-AF5C-4164-98AB-2347A3B6E1E6}" dt="2024-03-30T20:27:19.166" v="20905" actId="14100"/>
          <ac:spMkLst>
            <pc:docMk/>
            <pc:sldMk cId="4114144062" sldId="2147472867"/>
            <ac:spMk id="57" creationId="{5A4BDE39-308B-7A50-A28B-7FD3850A1D5B}"/>
          </ac:spMkLst>
        </pc:spChg>
        <pc:spChg chg="del mod">
          <ac:chgData name="Daniel Cole" userId="f20a75f9320a1647" providerId="LiveId" clId="{42D3E951-AF5C-4164-98AB-2347A3B6E1E6}" dt="2024-03-29T20:20:35.687" v="19600" actId="478"/>
          <ac:spMkLst>
            <pc:docMk/>
            <pc:sldMk cId="4114144062" sldId="2147472867"/>
            <ac:spMk id="58" creationId="{44B1E682-42C1-491B-EA28-A6FE133B24EF}"/>
          </ac:spMkLst>
        </pc:spChg>
        <pc:spChg chg="del mod">
          <ac:chgData name="Daniel Cole" userId="f20a75f9320a1647" providerId="LiveId" clId="{42D3E951-AF5C-4164-98AB-2347A3B6E1E6}" dt="2024-03-29T20:20:35.687" v="19600" actId="478"/>
          <ac:spMkLst>
            <pc:docMk/>
            <pc:sldMk cId="4114144062" sldId="2147472867"/>
            <ac:spMk id="59" creationId="{BCC59DBA-60F0-4C43-E9B5-6D81255C1B64}"/>
          </ac:spMkLst>
        </pc:spChg>
        <pc:spChg chg="del mod">
          <ac:chgData name="Daniel Cole" userId="f20a75f9320a1647" providerId="LiveId" clId="{42D3E951-AF5C-4164-98AB-2347A3B6E1E6}" dt="2024-03-29T20:20:35.687" v="19600" actId="478"/>
          <ac:spMkLst>
            <pc:docMk/>
            <pc:sldMk cId="4114144062" sldId="2147472867"/>
            <ac:spMk id="60" creationId="{42DBACAB-4CB3-D227-5B5D-EA0759C4A6CD}"/>
          </ac:spMkLst>
        </pc:spChg>
        <pc:spChg chg="del mod">
          <ac:chgData name="Daniel Cole" userId="f20a75f9320a1647" providerId="LiveId" clId="{42D3E951-AF5C-4164-98AB-2347A3B6E1E6}" dt="2024-03-29T20:20:35.687" v="19600" actId="478"/>
          <ac:spMkLst>
            <pc:docMk/>
            <pc:sldMk cId="4114144062" sldId="2147472867"/>
            <ac:spMk id="61" creationId="{3E3A5EE1-BE52-3667-C5D7-7E1F7F1B4789}"/>
          </ac:spMkLst>
        </pc:spChg>
        <pc:spChg chg="del mod">
          <ac:chgData name="Daniel Cole" userId="f20a75f9320a1647" providerId="LiveId" clId="{42D3E951-AF5C-4164-98AB-2347A3B6E1E6}" dt="2024-03-29T20:20:35.687" v="19600" actId="478"/>
          <ac:spMkLst>
            <pc:docMk/>
            <pc:sldMk cId="4114144062" sldId="2147472867"/>
            <ac:spMk id="62" creationId="{F0E82F50-4957-B6FB-578B-CC9870A47114}"/>
          </ac:spMkLst>
        </pc:spChg>
        <pc:spChg chg="add mod">
          <ac:chgData name="Daniel Cole" userId="f20a75f9320a1647" providerId="LiveId" clId="{42D3E951-AF5C-4164-98AB-2347A3B6E1E6}" dt="2024-03-30T19:50:31.600" v="19967" actId="1076"/>
          <ac:spMkLst>
            <pc:docMk/>
            <pc:sldMk cId="4114144062" sldId="2147472867"/>
            <ac:spMk id="64" creationId="{9F79C47B-B054-CAAF-907C-D0D7F9F18F4E}"/>
          </ac:spMkLst>
        </pc:spChg>
        <pc:spChg chg="add mod">
          <ac:chgData name="Daniel Cole" userId="f20a75f9320a1647" providerId="LiveId" clId="{42D3E951-AF5C-4164-98AB-2347A3B6E1E6}" dt="2024-03-30T19:50:57.088" v="19973" actId="14100"/>
          <ac:spMkLst>
            <pc:docMk/>
            <pc:sldMk cId="4114144062" sldId="2147472867"/>
            <ac:spMk id="66" creationId="{FD31D8FF-8F9F-DF6A-D0E1-02A7E3943E09}"/>
          </ac:spMkLst>
        </pc:spChg>
        <pc:spChg chg="add mod">
          <ac:chgData name="Daniel Cole" userId="f20a75f9320a1647" providerId="LiveId" clId="{42D3E951-AF5C-4164-98AB-2347A3B6E1E6}" dt="2024-03-30T19:52:02.274" v="20019" actId="20577"/>
          <ac:spMkLst>
            <pc:docMk/>
            <pc:sldMk cId="4114144062" sldId="2147472867"/>
            <ac:spMk id="67" creationId="{AAD39A9F-F214-CF4A-B63B-82D468FA24C7}"/>
          </ac:spMkLst>
        </pc:spChg>
        <pc:spChg chg="add del mod">
          <ac:chgData name="Daniel Cole" userId="f20a75f9320a1647" providerId="LiveId" clId="{42D3E951-AF5C-4164-98AB-2347A3B6E1E6}" dt="2024-03-30T19:52:20.949" v="20022" actId="478"/>
          <ac:spMkLst>
            <pc:docMk/>
            <pc:sldMk cId="4114144062" sldId="2147472867"/>
            <ac:spMk id="68" creationId="{9D4E640A-5249-5727-DCA8-A1CAF2A4314D}"/>
          </ac:spMkLst>
        </pc:spChg>
        <pc:spChg chg="add mod">
          <ac:chgData name="Daniel Cole" userId="f20a75f9320a1647" providerId="LiveId" clId="{42D3E951-AF5C-4164-98AB-2347A3B6E1E6}" dt="2024-03-30T20:20:06.314" v="20777" actId="20577"/>
          <ac:spMkLst>
            <pc:docMk/>
            <pc:sldMk cId="4114144062" sldId="2147472867"/>
            <ac:spMk id="69" creationId="{8C4FD724-2BAB-29EA-5DE8-DDEA5D590BE7}"/>
          </ac:spMkLst>
        </pc:spChg>
        <pc:spChg chg="add mod">
          <ac:chgData name="Daniel Cole" userId="f20a75f9320a1647" providerId="LiveId" clId="{42D3E951-AF5C-4164-98AB-2347A3B6E1E6}" dt="2024-03-30T20:00:09.180" v="20170" actId="1076"/>
          <ac:spMkLst>
            <pc:docMk/>
            <pc:sldMk cId="4114144062" sldId="2147472867"/>
            <ac:spMk id="70" creationId="{6EDB960E-BB8E-2600-0EC4-B881DEFD1B01}"/>
          </ac:spMkLst>
        </pc:spChg>
        <pc:spChg chg="add mod">
          <ac:chgData name="Daniel Cole" userId="f20a75f9320a1647" providerId="LiveId" clId="{42D3E951-AF5C-4164-98AB-2347A3B6E1E6}" dt="2024-03-30T19:58:47.906" v="20169" actId="20577"/>
          <ac:spMkLst>
            <pc:docMk/>
            <pc:sldMk cId="4114144062" sldId="2147472867"/>
            <ac:spMk id="71" creationId="{B502FAFC-081E-DC44-670B-A4A6CF525908}"/>
          </ac:spMkLst>
        </pc:spChg>
        <pc:spChg chg="add mod">
          <ac:chgData name="Daniel Cole" userId="f20a75f9320a1647" providerId="LiveId" clId="{42D3E951-AF5C-4164-98AB-2347A3B6E1E6}" dt="2024-03-30T20:01:13.855" v="20175" actId="6549"/>
          <ac:spMkLst>
            <pc:docMk/>
            <pc:sldMk cId="4114144062" sldId="2147472867"/>
            <ac:spMk id="72" creationId="{B9AF4628-D526-63BF-8CB9-A4A5192B49DA}"/>
          </ac:spMkLst>
        </pc:spChg>
        <pc:spChg chg="add mod">
          <ac:chgData name="Daniel Cole" userId="f20a75f9320a1647" providerId="LiveId" clId="{42D3E951-AF5C-4164-98AB-2347A3B6E1E6}" dt="2024-03-30T20:27:15.762" v="20904" actId="14100"/>
          <ac:spMkLst>
            <pc:docMk/>
            <pc:sldMk cId="4114144062" sldId="2147472867"/>
            <ac:spMk id="73" creationId="{B5B39EA3-377F-DB5B-C605-E9B33947646A}"/>
          </ac:spMkLst>
        </pc:spChg>
        <pc:spChg chg="add mod">
          <ac:chgData name="Daniel Cole" userId="f20a75f9320a1647" providerId="LiveId" clId="{42D3E951-AF5C-4164-98AB-2347A3B6E1E6}" dt="2024-03-30T20:06:47.740" v="20389" actId="20577"/>
          <ac:spMkLst>
            <pc:docMk/>
            <pc:sldMk cId="4114144062" sldId="2147472867"/>
            <ac:spMk id="74" creationId="{5B14AB72-07DD-D403-8932-F4F19ADDCE63}"/>
          </ac:spMkLst>
        </pc:spChg>
        <pc:spChg chg="add mod">
          <ac:chgData name="Daniel Cole" userId="f20a75f9320a1647" providerId="LiveId" clId="{42D3E951-AF5C-4164-98AB-2347A3B6E1E6}" dt="2024-03-30T20:27:26.170" v="20906" actId="14100"/>
          <ac:spMkLst>
            <pc:docMk/>
            <pc:sldMk cId="4114144062" sldId="2147472867"/>
            <ac:spMk id="75" creationId="{86738B94-8FBC-22AE-D796-30D2A181B12B}"/>
          </ac:spMkLst>
        </pc:spChg>
        <pc:spChg chg="add del mod">
          <ac:chgData name="Daniel Cole" userId="f20a75f9320a1647" providerId="LiveId" clId="{42D3E951-AF5C-4164-98AB-2347A3B6E1E6}" dt="2024-03-30T20:09:26.491" v="20477" actId="478"/>
          <ac:spMkLst>
            <pc:docMk/>
            <pc:sldMk cId="4114144062" sldId="2147472867"/>
            <ac:spMk id="76" creationId="{94FA78FF-FAED-D45C-46CB-7C60FE462AEB}"/>
          </ac:spMkLst>
        </pc:spChg>
        <pc:spChg chg="add mod">
          <ac:chgData name="Daniel Cole" userId="f20a75f9320a1647" providerId="LiveId" clId="{42D3E951-AF5C-4164-98AB-2347A3B6E1E6}" dt="2024-03-30T20:11:10.456" v="20564" actId="20577"/>
          <ac:spMkLst>
            <pc:docMk/>
            <pc:sldMk cId="4114144062" sldId="2147472867"/>
            <ac:spMk id="77" creationId="{B9F023C2-A190-53C8-27E7-4C121DC8700C}"/>
          </ac:spMkLst>
        </pc:spChg>
        <pc:spChg chg="add mod">
          <ac:chgData name="Daniel Cole" userId="f20a75f9320a1647" providerId="LiveId" clId="{42D3E951-AF5C-4164-98AB-2347A3B6E1E6}" dt="2024-03-30T20:27:31.617" v="20907" actId="14100"/>
          <ac:spMkLst>
            <pc:docMk/>
            <pc:sldMk cId="4114144062" sldId="2147472867"/>
            <ac:spMk id="78" creationId="{9C26E0D8-3FF2-87B0-B30A-9773176B1763}"/>
          </ac:spMkLst>
        </pc:spChg>
        <pc:spChg chg="add mod">
          <ac:chgData name="Daniel Cole" userId="f20a75f9320a1647" providerId="LiveId" clId="{42D3E951-AF5C-4164-98AB-2347A3B6E1E6}" dt="2024-03-30T20:15:33.714" v="20708" actId="33524"/>
          <ac:spMkLst>
            <pc:docMk/>
            <pc:sldMk cId="4114144062" sldId="2147472867"/>
            <ac:spMk id="79" creationId="{5D355B48-8DBA-4EB0-ADD3-919734DEFD13}"/>
          </ac:spMkLst>
        </pc:spChg>
        <pc:spChg chg="add del mod">
          <ac:chgData name="Daniel Cole" userId="f20a75f9320a1647" providerId="LiveId" clId="{42D3E951-AF5C-4164-98AB-2347A3B6E1E6}" dt="2024-03-30T20:24:53.794" v="20891"/>
          <ac:spMkLst>
            <pc:docMk/>
            <pc:sldMk cId="4114144062" sldId="2147472867"/>
            <ac:spMk id="80" creationId="{94B2B91F-6F70-31B5-E825-1B57DB90A923}"/>
          </ac:spMkLst>
        </pc:spChg>
        <pc:spChg chg="add mod">
          <ac:chgData name="Daniel Cole" userId="f20a75f9320a1647" providerId="LiveId" clId="{42D3E951-AF5C-4164-98AB-2347A3B6E1E6}" dt="2024-03-30T20:27:08.977" v="20903" actId="14100"/>
          <ac:spMkLst>
            <pc:docMk/>
            <pc:sldMk cId="4114144062" sldId="2147472867"/>
            <ac:spMk id="81" creationId="{ED164229-DB95-9AEA-0587-641168F63181}"/>
          </ac:spMkLst>
        </pc:spChg>
        <pc:grpChg chg="mod">
          <ac:chgData name="Daniel Cole" userId="f20a75f9320a1647" providerId="LiveId" clId="{42D3E951-AF5C-4164-98AB-2347A3B6E1E6}" dt="2024-03-30T20:27:19.166" v="20905" actId="14100"/>
          <ac:grpSpMkLst>
            <pc:docMk/>
            <pc:sldMk cId="4114144062" sldId="2147472867"/>
            <ac:grpSpMk id="2" creationId="{6AA4E3AC-F5F1-3878-12F9-CB1840893311}"/>
          </ac:grpSpMkLst>
        </pc:grpChg>
        <pc:grpChg chg="mod">
          <ac:chgData name="Daniel Cole" userId="f20a75f9320a1647" providerId="LiveId" clId="{42D3E951-AF5C-4164-98AB-2347A3B6E1E6}" dt="2024-03-30T20:28:41.684" v="20917" actId="12789"/>
          <ac:grpSpMkLst>
            <pc:docMk/>
            <pc:sldMk cId="4114144062" sldId="2147472867"/>
            <ac:grpSpMk id="3" creationId="{8C04D1EF-00BD-1B5E-76D2-0330D58BCB53}"/>
          </ac:grpSpMkLst>
        </pc:grpChg>
        <pc:grpChg chg="del mod">
          <ac:chgData name="Daniel Cole" userId="f20a75f9320a1647" providerId="LiveId" clId="{42D3E951-AF5C-4164-98AB-2347A3B6E1E6}" dt="2024-03-30T18:21:43.877" v="19720" actId="478"/>
          <ac:grpSpMkLst>
            <pc:docMk/>
            <pc:sldMk cId="4114144062" sldId="2147472867"/>
            <ac:grpSpMk id="6" creationId="{EE20927D-F3FC-4C4B-CEE4-ACCA1ACA8C6A}"/>
          </ac:grpSpMkLst>
        </pc:grpChg>
        <pc:grpChg chg="del mod">
          <ac:chgData name="Daniel Cole" userId="f20a75f9320a1647" providerId="LiveId" clId="{42D3E951-AF5C-4164-98AB-2347A3B6E1E6}" dt="2024-03-30T20:31:24.004" v="20925" actId="165"/>
          <ac:grpSpMkLst>
            <pc:docMk/>
            <pc:sldMk cId="4114144062" sldId="2147472867"/>
            <ac:grpSpMk id="9" creationId="{DCA9E903-4168-291C-3EF9-479D0A03EA9C}"/>
          </ac:grpSpMkLst>
        </pc:grpChg>
        <pc:grpChg chg="add del mod">
          <ac:chgData name="Daniel Cole" userId="f20a75f9320a1647" providerId="LiveId" clId="{42D3E951-AF5C-4164-98AB-2347A3B6E1E6}" dt="2024-03-23T20:33:37.843" v="19436" actId="478"/>
          <ac:grpSpMkLst>
            <pc:docMk/>
            <pc:sldMk cId="4114144062" sldId="2147472867"/>
            <ac:grpSpMk id="12" creationId="{2AA50F45-6EEE-E354-B54C-4833B77C5556}"/>
          </ac:grpSpMkLst>
        </pc:grpChg>
        <pc:grpChg chg="add mod">
          <ac:chgData name="Daniel Cole" userId="f20a75f9320a1647" providerId="LiveId" clId="{42D3E951-AF5C-4164-98AB-2347A3B6E1E6}" dt="2024-03-23T20:39:07.854" v="19534"/>
          <ac:grpSpMkLst>
            <pc:docMk/>
            <pc:sldMk cId="4114144062" sldId="2147472867"/>
            <ac:grpSpMk id="35" creationId="{2D66DCE6-0214-5D79-E8C3-868DFC8678EE}"/>
          </ac:grpSpMkLst>
        </pc:grpChg>
        <pc:grpChg chg="del mod">
          <ac:chgData name="Daniel Cole" userId="f20a75f9320a1647" providerId="LiveId" clId="{42D3E951-AF5C-4164-98AB-2347A3B6E1E6}" dt="2024-03-29T20:20:58.630" v="19605" actId="478"/>
          <ac:grpSpMkLst>
            <pc:docMk/>
            <pc:sldMk cId="4114144062" sldId="2147472867"/>
            <ac:grpSpMk id="50" creationId="{EA142294-C575-6729-1C64-6165614C7800}"/>
          </ac:grpSpMkLst>
        </pc:grpChg>
        <pc:graphicFrameChg chg="del">
          <ac:chgData name="Daniel Cole" userId="f20a75f9320a1647" providerId="LiveId" clId="{42D3E951-AF5C-4164-98AB-2347A3B6E1E6}" dt="2024-03-30T18:22:00.049" v="19721" actId="478"/>
          <ac:graphicFrameMkLst>
            <pc:docMk/>
            <pc:sldMk cId="4114144062" sldId="2147472867"/>
            <ac:graphicFrameMk id="15" creationId="{7649FA80-D81C-B1FE-EC41-B9FEF3E7F558}"/>
          </ac:graphicFrameMkLst>
        </pc:graphicFrameChg>
        <pc:cxnChg chg="mod">
          <ac:chgData name="Daniel Cole" userId="f20a75f9320a1647" providerId="LiveId" clId="{42D3E951-AF5C-4164-98AB-2347A3B6E1E6}" dt="2024-03-30T20:30:52.891" v="20922" actId="208"/>
          <ac:cxnSpMkLst>
            <pc:docMk/>
            <pc:sldMk cId="4114144062" sldId="2147472867"/>
            <ac:cxnSpMk id="4" creationId="{CAA1AB46-215F-584C-0810-ADB948E993D0}"/>
          </ac:cxnSpMkLst>
        </pc:cxnChg>
        <pc:cxnChg chg="del mod">
          <ac:chgData name="Daniel Cole" userId="f20a75f9320a1647" providerId="LiveId" clId="{42D3E951-AF5C-4164-98AB-2347A3B6E1E6}" dt="2024-03-30T18:22:00.049" v="19721" actId="478"/>
          <ac:cxnSpMkLst>
            <pc:docMk/>
            <pc:sldMk cId="4114144062" sldId="2147472867"/>
            <ac:cxnSpMk id="7" creationId="{38B714C0-A630-C933-C882-C0F1AF483DF5}"/>
          </ac:cxnSpMkLst>
        </pc:cxnChg>
        <pc:cxnChg chg="mod topLvl">
          <ac:chgData name="Daniel Cole" userId="f20a75f9320a1647" providerId="LiveId" clId="{42D3E951-AF5C-4164-98AB-2347A3B6E1E6}" dt="2024-03-30T20:31:34.729" v="20926" actId="208"/>
          <ac:cxnSpMkLst>
            <pc:docMk/>
            <pc:sldMk cId="4114144062" sldId="2147472867"/>
            <ac:cxnSpMk id="10" creationId="{2B93374E-850C-B341-63C1-60B4B9C370E8}"/>
          </ac:cxnSpMkLst>
        </pc:cxnChg>
        <pc:cxnChg chg="mod">
          <ac:chgData name="Daniel Cole" userId="f20a75f9320a1647" providerId="LiveId" clId="{42D3E951-AF5C-4164-98AB-2347A3B6E1E6}" dt="2024-03-23T20:33:31.708" v="19435" actId="1076"/>
          <ac:cxnSpMkLst>
            <pc:docMk/>
            <pc:sldMk cId="4114144062" sldId="2147472867"/>
            <ac:cxnSpMk id="13" creationId="{576E4206-E01A-98BD-9A8E-129E8502AA23}"/>
          </ac:cxnSpMkLst>
        </pc:cxnChg>
        <pc:cxnChg chg="mod">
          <ac:chgData name="Daniel Cole" userId="f20a75f9320a1647" providerId="LiveId" clId="{42D3E951-AF5C-4164-98AB-2347A3B6E1E6}" dt="2024-03-23T20:33:31.708" v="19435" actId="1076"/>
          <ac:cxnSpMkLst>
            <pc:docMk/>
            <pc:sldMk cId="4114144062" sldId="2147472867"/>
            <ac:cxnSpMk id="14" creationId="{3C269A59-2951-D2D9-8AC8-81534669EB08}"/>
          </ac:cxnSpMkLst>
        </pc:cxnChg>
        <pc:cxnChg chg="mod">
          <ac:chgData name="Daniel Cole" userId="f20a75f9320a1647" providerId="LiveId" clId="{42D3E951-AF5C-4164-98AB-2347A3B6E1E6}" dt="2024-03-23T20:33:31.708" v="19435" actId="1076"/>
          <ac:cxnSpMkLst>
            <pc:docMk/>
            <pc:sldMk cId="4114144062" sldId="2147472867"/>
            <ac:cxnSpMk id="31" creationId="{B7D769AF-38D5-6B9F-A0C8-86009B4B8870}"/>
          </ac:cxnSpMkLst>
        </pc:cxnChg>
        <pc:cxnChg chg="mod">
          <ac:chgData name="Daniel Cole" userId="f20a75f9320a1647" providerId="LiveId" clId="{42D3E951-AF5C-4164-98AB-2347A3B6E1E6}" dt="2024-03-23T20:33:31.708" v="19435" actId="1076"/>
          <ac:cxnSpMkLst>
            <pc:docMk/>
            <pc:sldMk cId="4114144062" sldId="2147472867"/>
            <ac:cxnSpMk id="32" creationId="{CC5DE3EE-0B2E-35E4-343F-522B863ADCB5}"/>
          </ac:cxnSpMkLst>
        </pc:cxnChg>
        <pc:cxnChg chg="mod">
          <ac:chgData name="Daniel Cole" userId="f20a75f9320a1647" providerId="LiveId" clId="{42D3E951-AF5C-4164-98AB-2347A3B6E1E6}" dt="2024-03-23T20:39:07.854" v="19534"/>
          <ac:cxnSpMkLst>
            <pc:docMk/>
            <pc:sldMk cId="4114144062" sldId="2147472867"/>
            <ac:cxnSpMk id="36" creationId="{700963C4-0BEB-802B-4BDA-983D18B493AA}"/>
          </ac:cxnSpMkLst>
        </pc:cxnChg>
        <pc:cxnChg chg="mod">
          <ac:chgData name="Daniel Cole" userId="f20a75f9320a1647" providerId="LiveId" clId="{42D3E951-AF5C-4164-98AB-2347A3B6E1E6}" dt="2024-03-23T20:39:07.854" v="19534"/>
          <ac:cxnSpMkLst>
            <pc:docMk/>
            <pc:sldMk cId="4114144062" sldId="2147472867"/>
            <ac:cxnSpMk id="37" creationId="{69C99A34-CB37-DDF5-D280-E03575B40E6F}"/>
          </ac:cxnSpMkLst>
        </pc:cxnChg>
        <pc:cxnChg chg="mod">
          <ac:chgData name="Daniel Cole" userId="f20a75f9320a1647" providerId="LiveId" clId="{42D3E951-AF5C-4164-98AB-2347A3B6E1E6}" dt="2024-03-23T20:39:07.854" v="19534"/>
          <ac:cxnSpMkLst>
            <pc:docMk/>
            <pc:sldMk cId="4114144062" sldId="2147472867"/>
            <ac:cxnSpMk id="38" creationId="{8C98B255-352F-9A78-5AE1-285CC0F3AB71}"/>
          </ac:cxnSpMkLst>
        </pc:cxnChg>
        <pc:cxnChg chg="mod">
          <ac:chgData name="Daniel Cole" userId="f20a75f9320a1647" providerId="LiveId" clId="{42D3E951-AF5C-4164-98AB-2347A3B6E1E6}" dt="2024-03-23T20:39:07.854" v="19534"/>
          <ac:cxnSpMkLst>
            <pc:docMk/>
            <pc:sldMk cId="4114144062" sldId="2147472867"/>
            <ac:cxnSpMk id="39" creationId="{9C7F80B7-778E-42F4-F809-8FD321BEBE19}"/>
          </ac:cxnSpMkLst>
        </pc:cxnChg>
        <pc:cxnChg chg="add del mod">
          <ac:chgData name="Daniel Cole" userId="f20a75f9320a1647" providerId="LiveId" clId="{42D3E951-AF5C-4164-98AB-2347A3B6E1E6}" dt="2024-03-29T20:22:49.362" v="19626" actId="478"/>
          <ac:cxnSpMkLst>
            <pc:docMk/>
            <pc:sldMk cId="4114144062" sldId="2147472867"/>
            <ac:cxnSpMk id="41" creationId="{7EEED474-ED5D-E28C-57DC-FC86E1B5BCFF}"/>
          </ac:cxnSpMkLst>
        </pc:cxnChg>
        <pc:cxnChg chg="add del mod">
          <ac:chgData name="Daniel Cole" userId="f20a75f9320a1647" providerId="LiveId" clId="{42D3E951-AF5C-4164-98AB-2347A3B6E1E6}" dt="2024-03-29T20:22:47.125" v="19625" actId="478"/>
          <ac:cxnSpMkLst>
            <pc:docMk/>
            <pc:sldMk cId="4114144062" sldId="2147472867"/>
            <ac:cxnSpMk id="42" creationId="{0A31B784-C313-1D58-5757-C4DB85BBB952}"/>
          </ac:cxnSpMkLst>
        </pc:cxnChg>
        <pc:cxnChg chg="add del mod">
          <ac:chgData name="Daniel Cole" userId="f20a75f9320a1647" providerId="LiveId" clId="{42D3E951-AF5C-4164-98AB-2347A3B6E1E6}" dt="2024-03-29T20:22:43.794" v="19624" actId="478"/>
          <ac:cxnSpMkLst>
            <pc:docMk/>
            <pc:sldMk cId="4114144062" sldId="2147472867"/>
            <ac:cxnSpMk id="43" creationId="{D74A8EA9-7FCA-B30C-EFE2-E445D64D279F}"/>
          </ac:cxnSpMkLst>
        </pc:cxnChg>
        <pc:cxnChg chg="add mod">
          <ac:chgData name="Daniel Cole" userId="f20a75f9320a1647" providerId="LiveId" clId="{42D3E951-AF5C-4164-98AB-2347A3B6E1E6}" dt="2024-03-30T20:32:36.206" v="20932" actId="14100"/>
          <ac:cxnSpMkLst>
            <pc:docMk/>
            <pc:sldMk cId="4114144062" sldId="2147472867"/>
            <ac:cxnSpMk id="44" creationId="{3B659461-FA33-7401-DDB9-AB3FE12E2C8D}"/>
          </ac:cxnSpMkLst>
        </pc:cxnChg>
        <pc:cxnChg chg="add mod">
          <ac:chgData name="Daniel Cole" userId="f20a75f9320a1647" providerId="LiveId" clId="{42D3E951-AF5C-4164-98AB-2347A3B6E1E6}" dt="2024-03-30T20:32:42.901" v="20933" actId="14100"/>
          <ac:cxnSpMkLst>
            <pc:docMk/>
            <pc:sldMk cId="4114144062" sldId="2147472867"/>
            <ac:cxnSpMk id="45" creationId="{0BF7C498-9F43-B2B0-5AD1-F351595E3CFD}"/>
          </ac:cxnSpMkLst>
        </pc:cxnChg>
        <pc:cxnChg chg="add mod">
          <ac:chgData name="Daniel Cole" userId="f20a75f9320a1647" providerId="LiveId" clId="{42D3E951-AF5C-4164-98AB-2347A3B6E1E6}" dt="2024-03-30T20:32:50.342" v="20934" actId="14100"/>
          <ac:cxnSpMkLst>
            <pc:docMk/>
            <pc:sldMk cId="4114144062" sldId="2147472867"/>
            <ac:cxnSpMk id="46" creationId="{34403E40-D023-6694-DE9A-B298D1D5E0F2}"/>
          </ac:cxnSpMkLst>
        </pc:cxnChg>
        <pc:cxnChg chg="add mod">
          <ac:chgData name="Daniel Cole" userId="f20a75f9320a1647" providerId="LiveId" clId="{42D3E951-AF5C-4164-98AB-2347A3B6E1E6}" dt="2024-03-30T20:33:00.502" v="20935" actId="14100"/>
          <ac:cxnSpMkLst>
            <pc:docMk/>
            <pc:sldMk cId="4114144062" sldId="2147472867"/>
            <ac:cxnSpMk id="47" creationId="{42F3EEA1-3174-39A6-A3F1-8EAF0371F615}"/>
          </ac:cxnSpMkLst>
        </pc:cxnChg>
        <pc:cxnChg chg="add mod">
          <ac:chgData name="Daniel Cole" userId="f20a75f9320a1647" providerId="LiveId" clId="{42D3E951-AF5C-4164-98AB-2347A3B6E1E6}" dt="2024-03-30T20:33:07.046" v="20936" actId="14100"/>
          <ac:cxnSpMkLst>
            <pc:docMk/>
            <pc:sldMk cId="4114144062" sldId="2147472867"/>
            <ac:cxnSpMk id="49" creationId="{CCC02089-2152-49D2-C675-0383ED3E8516}"/>
          </ac:cxnSpMkLst>
        </pc:cxnChg>
        <pc:cxnChg chg="mod">
          <ac:chgData name="Daniel Cole" userId="f20a75f9320a1647" providerId="LiveId" clId="{42D3E951-AF5C-4164-98AB-2347A3B6E1E6}" dt="2024-03-30T20:32:26.101" v="20931" actId="14100"/>
          <ac:cxnSpMkLst>
            <pc:docMk/>
            <pc:sldMk cId="4114144062" sldId="2147472867"/>
            <ac:cxnSpMk id="51" creationId="{463D60D4-2E84-849D-1F78-EE38CA722DC7}"/>
          </ac:cxnSpMkLst>
        </pc:cxnChg>
        <pc:cxnChg chg="del mod">
          <ac:chgData name="Daniel Cole" userId="f20a75f9320a1647" providerId="LiveId" clId="{42D3E951-AF5C-4164-98AB-2347A3B6E1E6}" dt="2024-03-29T20:20:58.630" v="19605" actId="478"/>
          <ac:cxnSpMkLst>
            <pc:docMk/>
            <pc:sldMk cId="4114144062" sldId="2147472867"/>
            <ac:cxnSpMk id="52" creationId="{0D002961-AB75-1457-A10D-BDB7569A4600}"/>
          </ac:cxnSpMkLst>
        </pc:cxnChg>
        <pc:cxnChg chg="del mod">
          <ac:chgData name="Daniel Cole" userId="f20a75f9320a1647" providerId="LiveId" clId="{42D3E951-AF5C-4164-98AB-2347A3B6E1E6}" dt="2024-03-29T20:20:55.208" v="19604" actId="478"/>
          <ac:cxnSpMkLst>
            <pc:docMk/>
            <pc:sldMk cId="4114144062" sldId="2147472867"/>
            <ac:cxnSpMk id="53" creationId="{8D43AABC-BAB1-D523-E55E-65C5AE6D01D8}"/>
          </ac:cxnSpMkLst>
        </pc:cxnChg>
        <pc:cxnChg chg="del mod">
          <ac:chgData name="Daniel Cole" userId="f20a75f9320a1647" providerId="LiveId" clId="{42D3E951-AF5C-4164-98AB-2347A3B6E1E6}" dt="2024-03-29T20:20:52.188" v="19603" actId="478"/>
          <ac:cxnSpMkLst>
            <pc:docMk/>
            <pc:sldMk cId="4114144062" sldId="2147472867"/>
            <ac:cxnSpMk id="54" creationId="{1BD716B3-894D-F700-EF7F-DA7EE54C670C}"/>
          </ac:cxnSpMkLst>
        </pc:cxnChg>
        <pc:cxnChg chg="mod">
          <ac:chgData name="Daniel Cole" userId="f20a75f9320a1647" providerId="LiveId" clId="{42D3E951-AF5C-4164-98AB-2347A3B6E1E6}" dt="2024-03-30T20:27:19.166" v="20905" actId="14100"/>
          <ac:cxnSpMkLst>
            <pc:docMk/>
            <pc:sldMk cId="4114144062" sldId="2147472867"/>
            <ac:cxnSpMk id="56" creationId="{EE2E1492-DC84-3A1F-2000-19C7DBF95C79}"/>
          </ac:cxnSpMkLst>
        </pc:cxnChg>
        <pc:cxnChg chg="add mod">
          <ac:chgData name="Daniel Cole" userId="f20a75f9320a1647" providerId="LiveId" clId="{42D3E951-AF5C-4164-98AB-2347A3B6E1E6}" dt="2024-03-30T20:33:40.461" v="20939" actId="14100"/>
          <ac:cxnSpMkLst>
            <pc:docMk/>
            <pc:sldMk cId="4114144062" sldId="2147472867"/>
            <ac:cxnSpMk id="63" creationId="{D7D00006-118D-C7A0-13D5-FC88796DC153}"/>
          </ac:cxnSpMkLst>
        </pc:cxnChg>
      </pc:sldChg>
      <pc:sldChg chg="modSp add mod ord">
        <pc:chgData name="Daniel Cole" userId="f20a75f9320a1647" providerId="LiveId" clId="{42D3E951-AF5C-4164-98AB-2347A3B6E1E6}" dt="2024-03-30T21:11:36.481" v="21320" actId="20577"/>
        <pc:sldMkLst>
          <pc:docMk/>
          <pc:sldMk cId="184186386" sldId="2147472868"/>
        </pc:sldMkLst>
        <pc:spChg chg="mod">
          <ac:chgData name="Daniel Cole" userId="f20a75f9320a1647" providerId="LiveId" clId="{42D3E951-AF5C-4164-98AB-2347A3B6E1E6}" dt="2024-03-30T21:11:36.481" v="21320" actId="20577"/>
          <ac:spMkLst>
            <pc:docMk/>
            <pc:sldMk cId="184186386" sldId="2147472868"/>
            <ac:spMk id="7" creationId="{B78FD69E-A913-AB72-7388-F9C0CDB98791}"/>
          </ac:spMkLst>
        </pc:spChg>
        <pc:spChg chg="mod">
          <ac:chgData name="Daniel Cole" userId="f20a75f9320a1647" providerId="LiveId" clId="{42D3E951-AF5C-4164-98AB-2347A3B6E1E6}" dt="2024-03-30T21:11:03.858" v="21296" actId="20577"/>
          <ac:spMkLst>
            <pc:docMk/>
            <pc:sldMk cId="184186386" sldId="2147472868"/>
            <ac:spMk id="8" creationId="{4E9F585E-56D4-3165-2C7F-474DECC838ED}"/>
          </ac:spMkLst>
        </pc:spChg>
      </pc:sldChg>
      <pc:sldChg chg="addSp delSp modSp new del mod">
        <pc:chgData name="Daniel Cole" userId="f20a75f9320a1647" providerId="LiveId" clId="{42D3E951-AF5C-4164-98AB-2347A3B6E1E6}" dt="2024-03-30T20:34:18.196" v="20940" actId="47"/>
        <pc:sldMkLst>
          <pc:docMk/>
          <pc:sldMk cId="1221770393" sldId="2147472868"/>
        </pc:sldMkLst>
        <pc:spChg chg="add mod">
          <ac:chgData name="Daniel Cole" userId="f20a75f9320a1647" providerId="LiveId" clId="{42D3E951-AF5C-4164-98AB-2347A3B6E1E6}" dt="2024-03-23T20:39:32.281" v="19551"/>
          <ac:spMkLst>
            <pc:docMk/>
            <pc:sldMk cId="1221770393" sldId="2147472868"/>
            <ac:spMk id="2" creationId="{72CF4125-1224-FBAC-E3FE-CF1F356A461B}"/>
          </ac:spMkLst>
        </pc:spChg>
        <pc:spChg chg="add 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16" creationId="{2653CBDA-C5AD-0E6F-0A0F-7911D26F4F25}"/>
          </ac:spMkLst>
        </pc:spChg>
        <pc:spChg chg="add 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17" creationId="{D1E09144-A34A-85BA-1E9C-CE72F2789109}"/>
          </ac:spMkLst>
        </pc:spChg>
        <pc:spChg chg="add 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18" creationId="{0FDF8FE7-7A29-F65E-5F19-9E8075E9487B}"/>
          </ac:spMkLst>
        </pc:spChg>
        <pc:spChg chg="add 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19" creationId="{67CE6026-0837-4A0A-9B57-7EE954275565}"/>
          </ac:spMkLst>
        </pc:spChg>
        <pc:spChg chg="add 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20" creationId="{4315A904-11E5-4613-A008-94A80BFDCFE5}"/>
          </ac:spMkLst>
        </pc:spChg>
        <pc:spChg chg="add 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21" creationId="{0ABFA748-252F-175B-B0E5-7CFB27F71987}"/>
          </ac:spMkLst>
        </pc:spChg>
        <pc:spChg chg="add 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22" creationId="{D47265CA-05C6-AD72-721D-D104B808B496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24" creationId="{A4663F87-6A88-82E6-BD43-9DB7D7609749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25" creationId="{414B1CE3-E7CE-E3F6-F04D-3CC2FFA0DAF5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26" creationId="{1B19B4D9-3D5C-8ECE-724B-4643A4CBC706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27" creationId="{E400108B-8A80-2558-E8A7-981D2372BAAA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28" creationId="{561DBACA-DA18-D8AA-1584-6D65BA06EE03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29" creationId="{80D5514B-AE32-345F-C89D-CD3D33388DDE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30" creationId="{85CB1083-6432-1ABE-C8B7-7A092B077BB2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31" creationId="{2011D032-4E05-4CBC-3D02-617F353357E7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32" creationId="{7C3733A3-EF81-D1BC-5BC1-2DFF1E24FB56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34" creationId="{D02C3640-3835-8ACE-2F92-0D0D61C3471F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35" creationId="{DAE35A61-C845-BDAA-1CEB-1FE9CDA4E2CF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36" creationId="{8CD34CC1-91CF-4AF6-E185-030881C28EC9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37" creationId="{C83882DB-E0F5-DC88-6889-CDBC2AA30A82}"/>
          </ac:spMkLst>
        </pc:spChg>
        <pc:spChg chg="add 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38" creationId="{8B400DF4-3870-095B-5D68-56C90B1C5A7E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40" creationId="{CAA2EDA7-49EC-1818-640A-94FAC0713B39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41" creationId="{E187218D-F6B0-357A-105F-58FF13DB15B3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42" creationId="{34EF980A-D083-E00B-40EB-326C96068C2B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43" creationId="{4E1D81ED-ACE9-90D0-753E-53CDE945E2C3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44" creationId="{01825A9E-1347-5962-D8B9-B98AA4EC2FBA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45" creationId="{1C18C602-D19E-63D4-9EE8-6CC056EE983A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47" creationId="{A8358D98-8D12-2222-5ECD-0A151E5F280F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48" creationId="{6B582DC7-A546-4DBE-7EDC-26EBB967811A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49" creationId="{D1E8A03F-65EF-ECC7-B51E-AF2CD006960D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50" creationId="{6C2B9B3C-F7C3-BD8F-4DC0-EFD7F14222F3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51" creationId="{E5FB8910-0FBB-3F53-0E3C-70E3A44CA524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52" creationId="{F86284F9-4E0E-D7CC-816D-606E6CB417DB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53" creationId="{85A4689E-8800-4EA9-5B05-01EF4E0B9CB7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54" creationId="{3B66C08E-6AEB-D51C-CEF5-9C97B6DB5F54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55" creationId="{5CFB8C6E-CC44-308E-40F4-FFE53C8E88D1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56" creationId="{B05C5B09-A9A1-8F71-9EA1-613DE5DCDD64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57" creationId="{629D1AF2-2DCA-BF71-70EC-7E13861A40DD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58" creationId="{D5B72C9C-8A8A-EB6F-754B-92EB7466D7C1}"/>
          </ac:spMkLst>
        </pc:spChg>
        <pc:spChg chg="add 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59" creationId="{EC42DDDD-1894-1767-A588-2FFE3F219503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61" creationId="{57A6123A-5548-D0B0-2204-A93EDEDE97CB}"/>
          </ac:spMkLst>
        </pc:spChg>
        <pc:spChg chg="mod">
          <ac:chgData name="Daniel Cole" userId="f20a75f9320a1647" providerId="LiveId" clId="{42D3E951-AF5C-4164-98AB-2347A3B6E1E6}" dt="2024-03-23T20:46:00.734" v="19595" actId="1035"/>
          <ac:spMkLst>
            <pc:docMk/>
            <pc:sldMk cId="1221770393" sldId="2147472868"/>
            <ac:spMk id="62" creationId="{1C3DE8F6-E5D3-2678-3BAA-EAD93DD19BA6}"/>
          </ac:spMkLst>
        </pc:spChg>
        <pc:grpChg chg="add mod">
          <ac:chgData name="Daniel Cole" userId="f20a75f9320a1647" providerId="LiveId" clId="{42D3E951-AF5C-4164-98AB-2347A3B6E1E6}" dt="2024-03-23T20:46:00.734" v="19595" actId="1035"/>
          <ac:grpSpMkLst>
            <pc:docMk/>
            <pc:sldMk cId="1221770393" sldId="2147472868"/>
            <ac:grpSpMk id="3" creationId="{F606F2BA-DAD3-FF57-36F3-AAF31F93D8D7}"/>
          </ac:grpSpMkLst>
        </pc:grpChg>
        <pc:grpChg chg="add mod">
          <ac:chgData name="Daniel Cole" userId="f20a75f9320a1647" providerId="LiveId" clId="{42D3E951-AF5C-4164-98AB-2347A3B6E1E6}" dt="2024-03-23T20:46:00.734" v="19595" actId="1035"/>
          <ac:grpSpMkLst>
            <pc:docMk/>
            <pc:sldMk cId="1221770393" sldId="2147472868"/>
            <ac:grpSpMk id="23" creationId="{C4A530C3-031C-AF92-277D-50A46C967AA6}"/>
          </ac:grpSpMkLst>
        </pc:grpChg>
        <pc:grpChg chg="add mod">
          <ac:chgData name="Daniel Cole" userId="f20a75f9320a1647" providerId="LiveId" clId="{42D3E951-AF5C-4164-98AB-2347A3B6E1E6}" dt="2024-03-23T20:46:00.734" v="19595" actId="1035"/>
          <ac:grpSpMkLst>
            <pc:docMk/>
            <pc:sldMk cId="1221770393" sldId="2147472868"/>
            <ac:grpSpMk id="33" creationId="{9AADD111-0B30-7A58-CAA8-0F3802A75921}"/>
          </ac:grpSpMkLst>
        </pc:grpChg>
        <pc:grpChg chg="add mod">
          <ac:chgData name="Daniel Cole" userId="f20a75f9320a1647" providerId="LiveId" clId="{42D3E951-AF5C-4164-98AB-2347A3B6E1E6}" dt="2024-03-23T20:46:00.734" v="19595" actId="1035"/>
          <ac:grpSpMkLst>
            <pc:docMk/>
            <pc:sldMk cId="1221770393" sldId="2147472868"/>
            <ac:grpSpMk id="39" creationId="{936756C3-FC15-4795-0695-CFDDB9C5B996}"/>
          </ac:grpSpMkLst>
        </pc:grpChg>
        <pc:grpChg chg="add mod">
          <ac:chgData name="Daniel Cole" userId="f20a75f9320a1647" providerId="LiveId" clId="{42D3E951-AF5C-4164-98AB-2347A3B6E1E6}" dt="2024-03-23T20:46:00.734" v="19595" actId="1035"/>
          <ac:grpSpMkLst>
            <pc:docMk/>
            <pc:sldMk cId="1221770393" sldId="2147472868"/>
            <ac:grpSpMk id="46" creationId="{F599163B-4BD7-3A76-9BAA-60F35832C5AA}"/>
          </ac:grpSpMkLst>
        </pc:grpChg>
        <pc:grpChg chg="add mod">
          <ac:chgData name="Daniel Cole" userId="f20a75f9320a1647" providerId="LiveId" clId="{42D3E951-AF5C-4164-98AB-2347A3B6E1E6}" dt="2024-03-23T20:46:00.734" v="19595" actId="1035"/>
          <ac:grpSpMkLst>
            <pc:docMk/>
            <pc:sldMk cId="1221770393" sldId="2147472868"/>
            <ac:grpSpMk id="60" creationId="{07E16371-31C2-AEF0-6720-7711F36FB8F8}"/>
          </ac:grpSpMkLst>
        </pc:grpChg>
        <pc:grpChg chg="add mod">
          <ac:chgData name="Daniel Cole" userId="f20a75f9320a1647" providerId="LiveId" clId="{42D3E951-AF5C-4164-98AB-2347A3B6E1E6}" dt="2024-03-23T20:46:00.734" v="19595" actId="1035"/>
          <ac:grpSpMkLst>
            <pc:docMk/>
            <pc:sldMk cId="1221770393" sldId="2147472868"/>
            <ac:grpSpMk id="64" creationId="{487164B1-64A1-2D10-C87F-3771C365DBC0}"/>
          </ac:grpSpMkLst>
        </pc:grpChg>
        <pc:cxnChg chg="mod">
          <ac:chgData name="Daniel Cole" userId="f20a75f9320a1647" providerId="LiveId" clId="{42D3E951-AF5C-4164-98AB-2347A3B6E1E6}" dt="2024-03-23T20:46:00.734" v="19595" actId="1035"/>
          <ac:cxnSpMkLst>
            <pc:docMk/>
            <pc:sldMk cId="1221770393" sldId="2147472868"/>
            <ac:cxnSpMk id="4" creationId="{68757387-365F-2431-C4DA-6F6AB9FC1590}"/>
          </ac:cxnSpMkLst>
        </pc:cxnChg>
        <pc:cxnChg chg="mod">
          <ac:chgData name="Daniel Cole" userId="f20a75f9320a1647" providerId="LiveId" clId="{42D3E951-AF5C-4164-98AB-2347A3B6E1E6}" dt="2024-03-23T20:46:00.734" v="19595" actId="1035"/>
          <ac:cxnSpMkLst>
            <pc:docMk/>
            <pc:sldMk cId="1221770393" sldId="2147472868"/>
            <ac:cxnSpMk id="5" creationId="{2D44EB7C-85E8-12B4-8D36-DB71EB6F493A}"/>
          </ac:cxnSpMkLst>
        </pc:cxnChg>
        <pc:cxnChg chg="mod">
          <ac:chgData name="Daniel Cole" userId="f20a75f9320a1647" providerId="LiveId" clId="{42D3E951-AF5C-4164-98AB-2347A3B6E1E6}" dt="2024-03-23T20:46:00.734" v="19595" actId="1035"/>
          <ac:cxnSpMkLst>
            <pc:docMk/>
            <pc:sldMk cId="1221770393" sldId="2147472868"/>
            <ac:cxnSpMk id="6" creationId="{F88730BC-8334-46C3-2578-24CE1A30A4A8}"/>
          </ac:cxnSpMkLst>
        </pc:cxnChg>
        <pc:cxnChg chg="mod">
          <ac:chgData name="Daniel Cole" userId="f20a75f9320a1647" providerId="LiveId" clId="{42D3E951-AF5C-4164-98AB-2347A3B6E1E6}" dt="2024-03-23T20:46:00.734" v="19595" actId="1035"/>
          <ac:cxnSpMkLst>
            <pc:docMk/>
            <pc:sldMk cId="1221770393" sldId="2147472868"/>
            <ac:cxnSpMk id="7" creationId="{A7ECFE2C-6CA3-EF1F-23C1-3D9DD1744916}"/>
          </ac:cxnSpMkLst>
        </pc:cxnChg>
        <pc:cxnChg chg="mod">
          <ac:chgData name="Daniel Cole" userId="f20a75f9320a1647" providerId="LiveId" clId="{42D3E951-AF5C-4164-98AB-2347A3B6E1E6}" dt="2024-03-23T20:46:00.734" v="19595" actId="1035"/>
          <ac:cxnSpMkLst>
            <pc:docMk/>
            <pc:sldMk cId="1221770393" sldId="2147472868"/>
            <ac:cxnSpMk id="8" creationId="{A953B381-55FC-0289-AE33-F45D3D5BE4BE}"/>
          </ac:cxnSpMkLst>
        </pc:cxnChg>
        <pc:cxnChg chg="mod">
          <ac:chgData name="Daniel Cole" userId="f20a75f9320a1647" providerId="LiveId" clId="{42D3E951-AF5C-4164-98AB-2347A3B6E1E6}" dt="2024-03-23T20:46:00.734" v="19595" actId="1035"/>
          <ac:cxnSpMkLst>
            <pc:docMk/>
            <pc:sldMk cId="1221770393" sldId="2147472868"/>
            <ac:cxnSpMk id="9" creationId="{DDE149B6-9FA0-E56B-F03E-E610E0037108}"/>
          </ac:cxnSpMkLst>
        </pc:cxnChg>
        <pc:cxnChg chg="mod">
          <ac:chgData name="Daniel Cole" userId="f20a75f9320a1647" providerId="LiveId" clId="{42D3E951-AF5C-4164-98AB-2347A3B6E1E6}" dt="2024-03-23T20:46:00.734" v="19595" actId="1035"/>
          <ac:cxnSpMkLst>
            <pc:docMk/>
            <pc:sldMk cId="1221770393" sldId="2147472868"/>
            <ac:cxnSpMk id="10" creationId="{F4DB4C57-F940-3F51-F47E-2E15E4BA7CD4}"/>
          </ac:cxnSpMkLst>
        </pc:cxnChg>
        <pc:cxnChg chg="mod">
          <ac:chgData name="Daniel Cole" userId="f20a75f9320a1647" providerId="LiveId" clId="{42D3E951-AF5C-4164-98AB-2347A3B6E1E6}" dt="2024-03-23T20:46:00.734" v="19595" actId="1035"/>
          <ac:cxnSpMkLst>
            <pc:docMk/>
            <pc:sldMk cId="1221770393" sldId="2147472868"/>
            <ac:cxnSpMk id="11" creationId="{F55FDEA6-3FA7-33E4-F614-476D54920737}"/>
          </ac:cxnSpMkLst>
        </pc:cxnChg>
        <pc:cxnChg chg="mod">
          <ac:chgData name="Daniel Cole" userId="f20a75f9320a1647" providerId="LiveId" clId="{42D3E951-AF5C-4164-98AB-2347A3B6E1E6}" dt="2024-03-23T20:46:00.734" v="19595" actId="1035"/>
          <ac:cxnSpMkLst>
            <pc:docMk/>
            <pc:sldMk cId="1221770393" sldId="2147472868"/>
            <ac:cxnSpMk id="12" creationId="{CE86FD3E-F376-0D94-E499-3ACD0BEE6E62}"/>
          </ac:cxnSpMkLst>
        </pc:cxnChg>
        <pc:cxnChg chg="mod">
          <ac:chgData name="Daniel Cole" userId="f20a75f9320a1647" providerId="LiveId" clId="{42D3E951-AF5C-4164-98AB-2347A3B6E1E6}" dt="2024-03-23T20:46:00.734" v="19595" actId="1035"/>
          <ac:cxnSpMkLst>
            <pc:docMk/>
            <pc:sldMk cId="1221770393" sldId="2147472868"/>
            <ac:cxnSpMk id="13" creationId="{CA51DAC7-C80E-E2AE-3BBF-85002D876E29}"/>
          </ac:cxnSpMkLst>
        </pc:cxnChg>
        <pc:cxnChg chg="mod">
          <ac:chgData name="Daniel Cole" userId="f20a75f9320a1647" providerId="LiveId" clId="{42D3E951-AF5C-4164-98AB-2347A3B6E1E6}" dt="2024-03-23T20:46:00.734" v="19595" actId="1035"/>
          <ac:cxnSpMkLst>
            <pc:docMk/>
            <pc:sldMk cId="1221770393" sldId="2147472868"/>
            <ac:cxnSpMk id="14" creationId="{78CA5EEF-80A2-13A2-2007-85E6534D5C72}"/>
          </ac:cxnSpMkLst>
        </pc:cxnChg>
        <pc:cxnChg chg="mod">
          <ac:chgData name="Daniel Cole" userId="f20a75f9320a1647" providerId="LiveId" clId="{42D3E951-AF5C-4164-98AB-2347A3B6E1E6}" dt="2024-03-23T20:46:00.734" v="19595" actId="1035"/>
          <ac:cxnSpMkLst>
            <pc:docMk/>
            <pc:sldMk cId="1221770393" sldId="2147472868"/>
            <ac:cxnSpMk id="15" creationId="{A443EA15-00A7-B80B-F55F-A5C1C3756074}"/>
          </ac:cxnSpMkLst>
        </pc:cxnChg>
        <pc:cxnChg chg="add del mod">
          <ac:chgData name="Daniel Cole" userId="f20a75f9320a1647" providerId="LiveId" clId="{42D3E951-AF5C-4164-98AB-2347A3B6E1E6}" dt="2024-03-23T20:45:45.393" v="19570" actId="478"/>
          <ac:cxnSpMkLst>
            <pc:docMk/>
            <pc:sldMk cId="1221770393" sldId="2147472868"/>
            <ac:cxnSpMk id="63" creationId="{7C0BECDE-5DA7-C173-A8AA-65E76BC5ABD2}"/>
          </ac:cxnSpMkLst>
        </pc:cxnChg>
      </pc:sldChg>
      <pc:sldChg chg="new del">
        <pc:chgData name="Daniel Cole" userId="f20a75f9320a1647" providerId="LiveId" clId="{42D3E951-AF5C-4164-98AB-2347A3B6E1E6}" dt="2024-03-30T21:10:10.481" v="21290" actId="47"/>
        <pc:sldMkLst>
          <pc:docMk/>
          <pc:sldMk cId="2330767884" sldId="2147472868"/>
        </pc:sldMkLst>
      </pc:sldChg>
      <pc:sldChg chg="delSp add del">
        <pc:chgData name="Daniel Cole" userId="f20a75f9320a1647" providerId="LiveId" clId="{42D3E951-AF5C-4164-98AB-2347A3B6E1E6}" dt="2024-03-30T20:34:52.981" v="20941" actId="47"/>
        <pc:sldMkLst>
          <pc:docMk/>
          <pc:sldMk cId="1246057627" sldId="2147472869"/>
        </pc:sldMkLst>
        <pc:spChg chg="del">
          <ac:chgData name="Daniel Cole" userId="f20a75f9320a1647" providerId="LiveId" clId="{42D3E951-AF5C-4164-98AB-2347A3B6E1E6}" dt="2024-03-30T19:32:01.767" v="19962" actId="478"/>
          <ac:spMkLst>
            <pc:docMk/>
            <pc:sldMk cId="1246057627" sldId="2147472869"/>
            <ac:spMk id="17" creationId="{A32291C7-5ED5-75E2-018B-D7072DBD7DF7}"/>
          </ac:spMkLst>
        </pc:spChg>
        <pc:spChg chg="del">
          <ac:chgData name="Daniel Cole" userId="f20a75f9320a1647" providerId="LiveId" clId="{42D3E951-AF5C-4164-98AB-2347A3B6E1E6}" dt="2024-03-30T19:32:01.767" v="19962" actId="478"/>
          <ac:spMkLst>
            <pc:docMk/>
            <pc:sldMk cId="1246057627" sldId="2147472869"/>
            <ac:spMk id="18" creationId="{FB8D6AF2-B608-C346-C3C7-5F4BE9BA1514}"/>
          </ac:spMkLst>
        </pc:spChg>
        <pc:spChg chg="del">
          <ac:chgData name="Daniel Cole" userId="f20a75f9320a1647" providerId="LiveId" clId="{42D3E951-AF5C-4164-98AB-2347A3B6E1E6}" dt="2024-03-30T19:32:01.767" v="19962" actId="478"/>
          <ac:spMkLst>
            <pc:docMk/>
            <pc:sldMk cId="1246057627" sldId="2147472869"/>
            <ac:spMk id="19" creationId="{51121C87-A51A-D1E5-2331-81F55141D79C}"/>
          </ac:spMkLst>
        </pc:spChg>
        <pc:spChg chg="del">
          <ac:chgData name="Daniel Cole" userId="f20a75f9320a1647" providerId="LiveId" clId="{42D3E951-AF5C-4164-98AB-2347A3B6E1E6}" dt="2024-03-30T19:32:01.767" v="19962" actId="478"/>
          <ac:spMkLst>
            <pc:docMk/>
            <pc:sldMk cId="1246057627" sldId="2147472869"/>
            <ac:spMk id="21" creationId="{2E301770-C394-CADB-8269-EF9A401338DE}"/>
          </ac:spMkLst>
        </pc:spChg>
        <pc:spChg chg="del">
          <ac:chgData name="Daniel Cole" userId="f20a75f9320a1647" providerId="LiveId" clId="{42D3E951-AF5C-4164-98AB-2347A3B6E1E6}" dt="2024-03-30T19:32:01.767" v="19962" actId="478"/>
          <ac:spMkLst>
            <pc:docMk/>
            <pc:sldMk cId="1246057627" sldId="2147472869"/>
            <ac:spMk id="22" creationId="{7851C8CB-FA09-FCD3-635B-61E3EA2321A4}"/>
          </ac:spMkLst>
        </pc:spChg>
        <pc:spChg chg="del">
          <ac:chgData name="Daniel Cole" userId="f20a75f9320a1647" providerId="LiveId" clId="{42D3E951-AF5C-4164-98AB-2347A3B6E1E6}" dt="2024-03-30T19:32:01.767" v="19962" actId="478"/>
          <ac:spMkLst>
            <pc:docMk/>
            <pc:sldMk cId="1246057627" sldId="2147472869"/>
            <ac:spMk id="33" creationId="{6990BD71-2465-4379-A4D7-7FBCAA4652A8}"/>
          </ac:spMkLst>
        </pc:spChg>
      </pc:sldChg>
      <pc:sldChg chg="addSp delSp modSp add del mod">
        <pc:chgData name="Daniel Cole" userId="f20a75f9320a1647" providerId="LiveId" clId="{42D3E951-AF5C-4164-98AB-2347A3B6E1E6}" dt="2024-03-31T20:10:40.745" v="31453" actId="47"/>
        <pc:sldMkLst>
          <pc:docMk/>
          <pc:sldMk cId="2043126180" sldId="2147472869"/>
        </pc:sldMkLst>
        <pc:spChg chg="add del mod">
          <ac:chgData name="Daniel Cole" userId="f20a75f9320a1647" providerId="LiveId" clId="{42D3E951-AF5C-4164-98AB-2347A3B6E1E6}" dt="2024-03-31T01:31:47.770" v="25317" actId="478"/>
          <ac:spMkLst>
            <pc:docMk/>
            <pc:sldMk cId="2043126180" sldId="2147472869"/>
            <ac:spMk id="2" creationId="{2B06A794-D8F0-D4D6-EBC4-69C3C7219CEF}"/>
          </ac:spMkLst>
        </pc:spChg>
        <pc:spChg chg="add del mod">
          <ac:chgData name="Daniel Cole" userId="f20a75f9320a1647" providerId="LiveId" clId="{42D3E951-AF5C-4164-98AB-2347A3B6E1E6}" dt="2024-03-31T00:25:16.943" v="24353" actId="478"/>
          <ac:spMkLst>
            <pc:docMk/>
            <pc:sldMk cId="2043126180" sldId="2147472869"/>
            <ac:spMk id="3" creationId="{ED7E17C7-836C-A960-FD10-6B3BE6B584DC}"/>
          </ac:spMkLst>
        </pc:spChg>
        <pc:spChg chg="add del mod">
          <ac:chgData name="Daniel Cole" userId="f20a75f9320a1647" providerId="LiveId" clId="{42D3E951-AF5C-4164-98AB-2347A3B6E1E6}" dt="2024-03-31T17:55:23.851" v="28594" actId="478"/>
          <ac:spMkLst>
            <pc:docMk/>
            <pc:sldMk cId="2043126180" sldId="2147472869"/>
            <ac:spMk id="3" creationId="{F3DC3537-BFA4-1019-E542-9D1F01A619F9}"/>
          </ac:spMkLst>
        </pc:spChg>
        <pc:spChg chg="add del mod">
          <ac:chgData name="Daniel Cole" userId="f20a75f9320a1647" providerId="LiveId" clId="{42D3E951-AF5C-4164-98AB-2347A3B6E1E6}" dt="2024-03-31T00:19:02.470" v="24263" actId="478"/>
          <ac:spMkLst>
            <pc:docMk/>
            <pc:sldMk cId="2043126180" sldId="2147472869"/>
            <ac:spMk id="4" creationId="{61B42629-7968-A63D-A94A-54FEF701D6A8}"/>
          </ac:spMkLst>
        </pc:spChg>
        <pc:spChg chg="add mod">
          <ac:chgData name="Daniel Cole" userId="f20a75f9320a1647" providerId="LiveId" clId="{42D3E951-AF5C-4164-98AB-2347A3B6E1E6}" dt="2024-03-31T17:55:36.470" v="28608" actId="313"/>
          <ac:spMkLst>
            <pc:docMk/>
            <pc:sldMk cId="2043126180" sldId="2147472869"/>
            <ac:spMk id="4" creationId="{FB9E2B1F-3524-426E-EC15-CDD81B9580D9}"/>
          </ac:spMkLst>
        </pc:spChg>
        <pc:spChg chg="add del mod">
          <ac:chgData name="Daniel Cole" userId="f20a75f9320a1647" providerId="LiveId" clId="{42D3E951-AF5C-4164-98AB-2347A3B6E1E6}" dt="2024-03-31T00:19:02.470" v="24263" actId="478"/>
          <ac:spMkLst>
            <pc:docMk/>
            <pc:sldMk cId="2043126180" sldId="2147472869"/>
            <ac:spMk id="5" creationId="{CA3A3837-D30B-A7BA-8D0B-5CC555422342}"/>
          </ac:spMkLst>
        </pc:spChg>
        <pc:spChg chg="add del mod">
          <ac:chgData name="Daniel Cole" userId="f20a75f9320a1647" providerId="LiveId" clId="{42D3E951-AF5C-4164-98AB-2347A3B6E1E6}" dt="2024-03-31T00:19:02.470" v="24263" actId="478"/>
          <ac:spMkLst>
            <pc:docMk/>
            <pc:sldMk cId="2043126180" sldId="2147472869"/>
            <ac:spMk id="6" creationId="{CFCB908C-FA1B-8B6E-1C9B-EAD2BC8FEFB8}"/>
          </ac:spMkLst>
        </pc:spChg>
        <pc:spChg chg="del mod">
          <ac:chgData name="Daniel Cole" userId="f20a75f9320a1647" providerId="LiveId" clId="{42D3E951-AF5C-4164-98AB-2347A3B6E1E6}" dt="2024-03-31T17:55:20.278" v="28593" actId="478"/>
          <ac:spMkLst>
            <pc:docMk/>
            <pc:sldMk cId="2043126180" sldId="2147472869"/>
            <ac:spMk id="7" creationId="{00000000-0000-0000-0000-000000000000}"/>
          </ac:spMkLst>
        </pc:spChg>
        <pc:spChg chg="add del mod">
          <ac:chgData name="Daniel Cole" userId="f20a75f9320a1647" providerId="LiveId" clId="{42D3E951-AF5C-4164-98AB-2347A3B6E1E6}" dt="2024-03-31T00:19:02.470" v="24263" actId="478"/>
          <ac:spMkLst>
            <pc:docMk/>
            <pc:sldMk cId="2043126180" sldId="2147472869"/>
            <ac:spMk id="8" creationId="{227D2D8D-D0BD-860F-4F01-1EAD0AB6BEAE}"/>
          </ac:spMkLst>
        </pc:spChg>
        <pc:spChg chg="mod">
          <ac:chgData name="Daniel Cole" userId="f20a75f9320a1647" providerId="LiveId" clId="{42D3E951-AF5C-4164-98AB-2347A3B6E1E6}" dt="2024-03-31T18:11:16.920" v="29560" actId="20577"/>
          <ac:spMkLst>
            <pc:docMk/>
            <pc:sldMk cId="2043126180" sldId="2147472869"/>
            <ac:spMk id="10" creationId="{00000000-0000-0000-0000-000000000000}"/>
          </ac:spMkLst>
        </pc:spChg>
        <pc:spChg chg="mod">
          <ac:chgData name="Daniel Cole" userId="f20a75f9320a1647" providerId="LiveId" clId="{42D3E951-AF5C-4164-98AB-2347A3B6E1E6}" dt="2024-03-31T18:08:42.320" v="29310" actId="1036"/>
          <ac:spMkLst>
            <pc:docMk/>
            <pc:sldMk cId="2043126180" sldId="2147472869"/>
            <ac:spMk id="11" creationId="{00000000-0000-0000-0000-000000000000}"/>
          </ac:spMkLst>
        </pc:spChg>
        <pc:spChg chg="mod">
          <ac:chgData name="Daniel Cole" userId="f20a75f9320a1647" providerId="LiveId" clId="{42D3E951-AF5C-4164-98AB-2347A3B6E1E6}" dt="2024-03-31T18:08:42.320" v="29310" actId="1036"/>
          <ac:spMkLst>
            <pc:docMk/>
            <pc:sldMk cId="2043126180" sldId="2147472869"/>
            <ac:spMk id="13" creationId="{00000000-0000-0000-0000-000000000000}"/>
          </ac:spMkLst>
        </pc:spChg>
        <pc:spChg chg="del mod">
          <ac:chgData name="Daniel Cole" userId="f20a75f9320a1647" providerId="LiveId" clId="{42D3E951-AF5C-4164-98AB-2347A3B6E1E6}" dt="2024-03-31T01:40:55.532" v="25870" actId="478"/>
          <ac:spMkLst>
            <pc:docMk/>
            <pc:sldMk cId="2043126180" sldId="2147472869"/>
            <ac:spMk id="14" creationId="{00000000-0000-0000-0000-000000000000}"/>
          </ac:spMkLst>
        </pc:spChg>
        <pc:spChg chg="mod">
          <ac:chgData name="Daniel Cole" userId="f20a75f9320a1647" providerId="LiveId" clId="{42D3E951-AF5C-4164-98AB-2347A3B6E1E6}" dt="2024-03-30T23:47:00.229" v="23798" actId="20577"/>
          <ac:spMkLst>
            <pc:docMk/>
            <pc:sldMk cId="2043126180" sldId="2147472869"/>
            <ac:spMk id="15" creationId="{00000000-0000-0000-0000-000000000000}"/>
          </ac:spMkLst>
        </pc:spChg>
        <pc:spChg chg="mod">
          <ac:chgData name="Daniel Cole" userId="f20a75f9320a1647" providerId="LiveId" clId="{42D3E951-AF5C-4164-98AB-2347A3B6E1E6}" dt="2024-03-31T18:10:33.038" v="29502" actId="1035"/>
          <ac:spMkLst>
            <pc:docMk/>
            <pc:sldMk cId="2043126180" sldId="2147472869"/>
            <ac:spMk id="18" creationId="{00000000-0000-0000-0000-000000000000}"/>
          </ac:spMkLst>
        </pc:spChg>
        <pc:spChg chg="mod">
          <ac:chgData name="Daniel Cole" userId="f20a75f9320a1647" providerId="LiveId" clId="{42D3E951-AF5C-4164-98AB-2347A3B6E1E6}" dt="2024-03-31T18:08:42.320" v="29310" actId="1036"/>
          <ac:spMkLst>
            <pc:docMk/>
            <pc:sldMk cId="2043126180" sldId="2147472869"/>
            <ac:spMk id="20" creationId="{00000000-0000-0000-0000-000000000000}"/>
          </ac:spMkLst>
        </pc:spChg>
        <pc:spChg chg="del mod">
          <ac:chgData name="Daniel Cole" userId="f20a75f9320a1647" providerId="LiveId" clId="{42D3E951-AF5C-4164-98AB-2347A3B6E1E6}" dt="2024-03-31T00:25:16.943" v="24353" actId="478"/>
          <ac:spMkLst>
            <pc:docMk/>
            <pc:sldMk cId="2043126180" sldId="2147472869"/>
            <ac:spMk id="21" creationId="{00000000-0000-0000-0000-000000000000}"/>
          </ac:spMkLst>
        </pc:spChg>
        <pc:spChg chg="mod">
          <ac:chgData name="Daniel Cole" userId="f20a75f9320a1647" providerId="LiveId" clId="{42D3E951-AF5C-4164-98AB-2347A3B6E1E6}" dt="2024-03-30T23:11:27.889" v="22697" actId="207"/>
          <ac:spMkLst>
            <pc:docMk/>
            <pc:sldMk cId="2043126180" sldId="2147472869"/>
            <ac:spMk id="28" creationId="{00000000-0000-0000-0000-000000000000}"/>
          </ac:spMkLst>
        </pc:spChg>
        <pc:spChg chg="mod">
          <ac:chgData name="Daniel Cole" userId="f20a75f9320a1647" providerId="LiveId" clId="{42D3E951-AF5C-4164-98AB-2347A3B6E1E6}" dt="2024-03-30T23:11:27.889" v="22697" actId="207"/>
          <ac:spMkLst>
            <pc:docMk/>
            <pc:sldMk cId="2043126180" sldId="2147472869"/>
            <ac:spMk id="29" creationId="{00000000-0000-0000-0000-000000000000}"/>
          </ac:spMkLst>
        </pc:spChg>
        <pc:spChg chg="mod">
          <ac:chgData name="Daniel Cole" userId="f20a75f9320a1647" providerId="LiveId" clId="{42D3E951-AF5C-4164-98AB-2347A3B6E1E6}" dt="2024-03-30T23:11:38.672" v="22699" actId="207"/>
          <ac:spMkLst>
            <pc:docMk/>
            <pc:sldMk cId="2043126180" sldId="2147472869"/>
            <ac:spMk id="31" creationId="{00000000-0000-0000-0000-000000000000}"/>
          </ac:spMkLst>
        </pc:spChg>
        <pc:spChg chg="mod">
          <ac:chgData name="Daniel Cole" userId="f20a75f9320a1647" providerId="LiveId" clId="{42D3E951-AF5C-4164-98AB-2347A3B6E1E6}" dt="2024-03-30T23:11:38.672" v="22699" actId="207"/>
          <ac:spMkLst>
            <pc:docMk/>
            <pc:sldMk cId="2043126180" sldId="2147472869"/>
            <ac:spMk id="32" creationId="{00000000-0000-0000-0000-000000000000}"/>
          </ac:spMkLst>
        </pc:spChg>
        <pc:spChg chg="mod">
          <ac:chgData name="Daniel Cole" userId="f20a75f9320a1647" providerId="LiveId" clId="{42D3E951-AF5C-4164-98AB-2347A3B6E1E6}" dt="2024-03-30T23:11:38.672" v="22699" actId="207"/>
          <ac:spMkLst>
            <pc:docMk/>
            <pc:sldMk cId="2043126180" sldId="2147472869"/>
            <ac:spMk id="33" creationId="{00000000-0000-0000-0000-000000000000}"/>
          </ac:spMkLst>
        </pc:spChg>
        <pc:spChg chg="add del">
          <ac:chgData name="Daniel Cole" userId="f20a75f9320a1647" providerId="LiveId" clId="{42D3E951-AF5C-4164-98AB-2347A3B6E1E6}" dt="2024-03-31T01:50:38.443" v="26239" actId="478"/>
          <ac:spMkLst>
            <pc:docMk/>
            <pc:sldMk cId="2043126180" sldId="2147472869"/>
            <ac:spMk id="34" creationId="{00000000-0000-0000-0000-000000000000}"/>
          </ac:spMkLst>
        </pc:spChg>
        <pc:spChg chg="del">
          <ac:chgData name="Daniel Cole" userId="f20a75f9320a1647" providerId="LiveId" clId="{42D3E951-AF5C-4164-98AB-2347A3B6E1E6}" dt="2024-03-31T00:06:57.518" v="24220" actId="478"/>
          <ac:spMkLst>
            <pc:docMk/>
            <pc:sldMk cId="2043126180" sldId="2147472869"/>
            <ac:spMk id="35" creationId="{00000000-0000-0000-0000-000000000000}"/>
          </ac:spMkLst>
        </pc:spChg>
        <pc:spChg chg="del">
          <ac:chgData name="Daniel Cole" userId="f20a75f9320a1647" providerId="LiveId" clId="{42D3E951-AF5C-4164-98AB-2347A3B6E1E6}" dt="2024-03-31T00:06:46.076" v="24219" actId="478"/>
          <ac:spMkLst>
            <pc:docMk/>
            <pc:sldMk cId="2043126180" sldId="2147472869"/>
            <ac:spMk id="36" creationId="{00000000-0000-0000-0000-000000000000}"/>
          </ac:spMkLst>
        </pc:spChg>
        <pc:spChg chg="del">
          <ac:chgData name="Daniel Cole" userId="f20a75f9320a1647" providerId="LiveId" clId="{42D3E951-AF5C-4164-98AB-2347A3B6E1E6}" dt="2024-03-31T00:06:57.518" v="24220" actId="478"/>
          <ac:spMkLst>
            <pc:docMk/>
            <pc:sldMk cId="2043126180" sldId="2147472869"/>
            <ac:spMk id="37" creationId="{00000000-0000-0000-0000-000000000000}"/>
          </ac:spMkLst>
        </pc:spChg>
        <pc:spChg chg="del">
          <ac:chgData name="Daniel Cole" userId="f20a75f9320a1647" providerId="LiveId" clId="{42D3E951-AF5C-4164-98AB-2347A3B6E1E6}" dt="2024-03-31T00:07:39.308" v="24223" actId="478"/>
          <ac:spMkLst>
            <pc:docMk/>
            <pc:sldMk cId="2043126180" sldId="2147472869"/>
            <ac:spMk id="39" creationId="{00000000-0000-0000-0000-000000000000}"/>
          </ac:spMkLst>
        </pc:spChg>
        <pc:spChg chg="del">
          <ac:chgData name="Daniel Cole" userId="f20a75f9320a1647" providerId="LiveId" clId="{42D3E951-AF5C-4164-98AB-2347A3B6E1E6}" dt="2024-03-31T01:50:51.011" v="26242" actId="478"/>
          <ac:spMkLst>
            <pc:docMk/>
            <pc:sldMk cId="2043126180" sldId="2147472869"/>
            <ac:spMk id="55" creationId="{00000000-0000-0000-0000-000000000000}"/>
          </ac:spMkLst>
        </pc:spChg>
        <pc:spChg chg="mod">
          <ac:chgData name="Daniel Cole" userId="f20a75f9320a1647" providerId="LiveId" clId="{42D3E951-AF5C-4164-98AB-2347A3B6E1E6}" dt="2024-03-31T01:50:44.716" v="26241" actId="1076"/>
          <ac:spMkLst>
            <pc:docMk/>
            <pc:sldMk cId="2043126180" sldId="2147472869"/>
            <ac:spMk id="57" creationId="{E36F608D-9140-2F36-CDA6-A50E0BA862D8}"/>
          </ac:spMkLst>
        </pc:spChg>
        <pc:spChg chg="mod">
          <ac:chgData name="Daniel Cole" userId="f20a75f9320a1647" providerId="LiveId" clId="{42D3E951-AF5C-4164-98AB-2347A3B6E1E6}" dt="2024-03-31T18:10:33.038" v="29502" actId="1035"/>
          <ac:spMkLst>
            <pc:docMk/>
            <pc:sldMk cId="2043126180" sldId="2147472869"/>
            <ac:spMk id="58" creationId="{1CA82F21-F243-1364-7ABB-01A1F2482FE0}"/>
          </ac:spMkLst>
        </pc:spChg>
        <pc:spChg chg="mod">
          <ac:chgData name="Daniel Cole" userId="f20a75f9320a1647" providerId="LiveId" clId="{42D3E951-AF5C-4164-98AB-2347A3B6E1E6}" dt="2024-03-31T18:08:42.320" v="29310" actId="1036"/>
          <ac:spMkLst>
            <pc:docMk/>
            <pc:sldMk cId="2043126180" sldId="2147472869"/>
            <ac:spMk id="59" creationId="{7B2C9430-342F-DA8B-B1CA-C59542A92DE8}"/>
          </ac:spMkLst>
        </pc:spChg>
        <pc:spChg chg="del mod">
          <ac:chgData name="Daniel Cole" userId="f20a75f9320a1647" providerId="LiveId" clId="{42D3E951-AF5C-4164-98AB-2347A3B6E1E6}" dt="2024-03-30T23:58:36.506" v="24066" actId="478"/>
          <ac:spMkLst>
            <pc:docMk/>
            <pc:sldMk cId="2043126180" sldId="2147472869"/>
            <ac:spMk id="60" creationId="{162E446D-3336-BA66-DCDB-FA395A4C737C}"/>
          </ac:spMkLst>
        </pc:spChg>
        <pc:spChg chg="add del mod">
          <ac:chgData name="Daniel Cole" userId="f20a75f9320a1647" providerId="LiveId" clId="{42D3E951-AF5C-4164-98AB-2347A3B6E1E6}" dt="2024-03-31T00:19:02.470" v="24263" actId="478"/>
          <ac:spMkLst>
            <pc:docMk/>
            <pc:sldMk cId="2043126180" sldId="2147472869"/>
            <ac:spMk id="70" creationId="{9CBCE169-4E43-E3DE-A279-AE681DC5F8C7}"/>
          </ac:spMkLst>
        </pc:spChg>
        <pc:spChg chg="add del mod">
          <ac:chgData name="Daniel Cole" userId="f20a75f9320a1647" providerId="LiveId" clId="{42D3E951-AF5C-4164-98AB-2347A3B6E1E6}" dt="2024-03-31T00:19:02.470" v="24263" actId="478"/>
          <ac:spMkLst>
            <pc:docMk/>
            <pc:sldMk cId="2043126180" sldId="2147472869"/>
            <ac:spMk id="71" creationId="{47D964F7-76D6-A4CA-C475-B7E0796824C6}"/>
          </ac:spMkLst>
        </pc:spChg>
        <pc:spChg chg="add del mod">
          <ac:chgData name="Daniel Cole" userId="f20a75f9320a1647" providerId="LiveId" clId="{42D3E951-AF5C-4164-98AB-2347A3B6E1E6}" dt="2024-03-31T00:19:02.470" v="24263" actId="478"/>
          <ac:spMkLst>
            <pc:docMk/>
            <pc:sldMk cId="2043126180" sldId="2147472869"/>
            <ac:spMk id="72" creationId="{24AF6CB5-FC6C-11D9-DB46-3E9989B511CF}"/>
          </ac:spMkLst>
        </pc:spChg>
        <pc:spChg chg="add del mod">
          <ac:chgData name="Daniel Cole" userId="f20a75f9320a1647" providerId="LiveId" clId="{42D3E951-AF5C-4164-98AB-2347A3B6E1E6}" dt="2024-03-31T00:19:02.470" v="24263" actId="478"/>
          <ac:spMkLst>
            <pc:docMk/>
            <pc:sldMk cId="2043126180" sldId="2147472869"/>
            <ac:spMk id="73" creationId="{31D83C55-0074-327F-E9F1-775801472831}"/>
          </ac:spMkLst>
        </pc:spChg>
        <pc:spChg chg="add del mod">
          <ac:chgData name="Daniel Cole" userId="f20a75f9320a1647" providerId="LiveId" clId="{42D3E951-AF5C-4164-98AB-2347A3B6E1E6}" dt="2024-03-31T00:19:02.470" v="24263" actId="478"/>
          <ac:spMkLst>
            <pc:docMk/>
            <pc:sldMk cId="2043126180" sldId="2147472869"/>
            <ac:spMk id="74" creationId="{C64BCC91-21CF-4F9F-DCB8-43E9D1872DFA}"/>
          </ac:spMkLst>
        </pc:spChg>
        <pc:spChg chg="add del mod topLvl">
          <ac:chgData name="Daniel Cole" userId="f20a75f9320a1647" providerId="LiveId" clId="{42D3E951-AF5C-4164-98AB-2347A3B6E1E6}" dt="2024-03-31T01:50:51.011" v="26242" actId="478"/>
          <ac:spMkLst>
            <pc:docMk/>
            <pc:sldMk cId="2043126180" sldId="2147472869"/>
            <ac:spMk id="78" creationId="{9A4E2F40-F021-20FF-50D4-374BAFB85390}"/>
          </ac:spMkLst>
        </pc:spChg>
        <pc:spChg chg="add del mod topLvl">
          <ac:chgData name="Daniel Cole" userId="f20a75f9320a1647" providerId="LiveId" clId="{42D3E951-AF5C-4164-98AB-2347A3B6E1E6}" dt="2024-03-31T00:22:33.873" v="24329" actId="478"/>
          <ac:spMkLst>
            <pc:docMk/>
            <pc:sldMk cId="2043126180" sldId="2147472869"/>
            <ac:spMk id="79" creationId="{C2F15137-1FC3-179A-B1F7-BFBB2A506650}"/>
          </ac:spMkLst>
        </pc:spChg>
        <pc:spChg chg="add del mod topLvl">
          <ac:chgData name="Daniel Cole" userId="f20a75f9320a1647" providerId="LiveId" clId="{42D3E951-AF5C-4164-98AB-2347A3B6E1E6}" dt="2024-03-31T00:22:33.873" v="24329" actId="478"/>
          <ac:spMkLst>
            <pc:docMk/>
            <pc:sldMk cId="2043126180" sldId="2147472869"/>
            <ac:spMk id="80" creationId="{A26404E5-ED79-2415-66B6-DABDD9B97ED4}"/>
          </ac:spMkLst>
        </pc:spChg>
        <pc:spChg chg="add del mod topLvl">
          <ac:chgData name="Daniel Cole" userId="f20a75f9320a1647" providerId="LiveId" clId="{42D3E951-AF5C-4164-98AB-2347A3B6E1E6}" dt="2024-03-31T00:22:33.873" v="24329" actId="478"/>
          <ac:spMkLst>
            <pc:docMk/>
            <pc:sldMk cId="2043126180" sldId="2147472869"/>
            <ac:spMk id="81" creationId="{D0E9F008-B473-6F1F-A156-41FACD1F1E90}"/>
          </ac:spMkLst>
        </pc:spChg>
        <pc:spChg chg="add del mod topLvl">
          <ac:chgData name="Daniel Cole" userId="f20a75f9320a1647" providerId="LiveId" clId="{42D3E951-AF5C-4164-98AB-2347A3B6E1E6}" dt="2024-03-31T01:50:51.011" v="26242" actId="478"/>
          <ac:spMkLst>
            <pc:docMk/>
            <pc:sldMk cId="2043126180" sldId="2147472869"/>
            <ac:spMk id="95" creationId="{7A77CF9D-6C2E-5EB5-DA78-5645A1E64663}"/>
          </ac:spMkLst>
        </pc:spChg>
        <pc:spChg chg="add del mod topLvl">
          <ac:chgData name="Daniel Cole" userId="f20a75f9320a1647" providerId="LiveId" clId="{42D3E951-AF5C-4164-98AB-2347A3B6E1E6}" dt="2024-03-31T01:50:51.011" v="26242" actId="478"/>
          <ac:spMkLst>
            <pc:docMk/>
            <pc:sldMk cId="2043126180" sldId="2147472869"/>
            <ac:spMk id="96" creationId="{BE169ADB-91A7-F3C1-ECFD-65975E6495BF}"/>
          </ac:spMkLst>
        </pc:spChg>
        <pc:spChg chg="add del mod topLvl">
          <ac:chgData name="Daniel Cole" userId="f20a75f9320a1647" providerId="LiveId" clId="{42D3E951-AF5C-4164-98AB-2347A3B6E1E6}" dt="2024-03-31T01:50:51.011" v="26242" actId="478"/>
          <ac:spMkLst>
            <pc:docMk/>
            <pc:sldMk cId="2043126180" sldId="2147472869"/>
            <ac:spMk id="97" creationId="{F2FCA2DA-6E16-BDC0-AD56-5F98FC12265C}"/>
          </ac:spMkLst>
        </pc:spChg>
        <pc:spChg chg="add del mod topLvl">
          <ac:chgData name="Daniel Cole" userId="f20a75f9320a1647" providerId="LiveId" clId="{42D3E951-AF5C-4164-98AB-2347A3B6E1E6}" dt="2024-03-31T01:50:51.011" v="26242" actId="478"/>
          <ac:spMkLst>
            <pc:docMk/>
            <pc:sldMk cId="2043126180" sldId="2147472869"/>
            <ac:spMk id="98" creationId="{9716938E-43D1-14D1-C891-A173C5645B9D}"/>
          </ac:spMkLst>
        </pc:spChg>
        <pc:spChg chg="add del mod topLvl">
          <ac:chgData name="Daniel Cole" userId="f20a75f9320a1647" providerId="LiveId" clId="{42D3E951-AF5C-4164-98AB-2347A3B6E1E6}" dt="2024-03-31T01:50:51.011" v="26242" actId="478"/>
          <ac:spMkLst>
            <pc:docMk/>
            <pc:sldMk cId="2043126180" sldId="2147472869"/>
            <ac:spMk id="99" creationId="{E2FA084E-C0D7-4649-C51F-357DAD217BEA}"/>
          </ac:spMkLst>
        </pc:spChg>
        <pc:spChg chg="add mod">
          <ac:chgData name="Daniel Cole" userId="f20a75f9320a1647" providerId="LiveId" clId="{42D3E951-AF5C-4164-98AB-2347A3B6E1E6}" dt="2024-03-31T00:25:18.187" v="24354"/>
          <ac:spMkLst>
            <pc:docMk/>
            <pc:sldMk cId="2043126180" sldId="2147472869"/>
            <ac:spMk id="104" creationId="{7141FBB7-D21B-DF3E-59AF-F47053AE44EA}"/>
          </ac:spMkLst>
        </pc:spChg>
        <pc:spChg chg="add mod">
          <ac:chgData name="Daniel Cole" userId="f20a75f9320a1647" providerId="LiveId" clId="{42D3E951-AF5C-4164-98AB-2347A3B6E1E6}" dt="2024-03-31T00:25:18.187" v="24354"/>
          <ac:spMkLst>
            <pc:docMk/>
            <pc:sldMk cId="2043126180" sldId="2147472869"/>
            <ac:spMk id="105" creationId="{FCF80129-654A-EAC1-1B56-0DED87ABD547}"/>
          </ac:spMkLst>
        </pc:spChg>
        <pc:spChg chg="add del mod">
          <ac:chgData name="Daniel Cole" userId="f20a75f9320a1647" providerId="LiveId" clId="{42D3E951-AF5C-4164-98AB-2347A3B6E1E6}" dt="2024-03-31T01:38:47.215" v="25741" actId="478"/>
          <ac:spMkLst>
            <pc:docMk/>
            <pc:sldMk cId="2043126180" sldId="2147472869"/>
            <ac:spMk id="106" creationId="{72AF498D-A7E8-F4E1-116B-BA74036B03AA}"/>
          </ac:spMkLst>
        </pc:spChg>
        <pc:spChg chg="add mod">
          <ac:chgData name="Daniel Cole" userId="f20a75f9320a1647" providerId="LiveId" clId="{42D3E951-AF5C-4164-98AB-2347A3B6E1E6}" dt="2024-03-31T18:12:18.973" v="29634" actId="20577"/>
          <ac:spMkLst>
            <pc:docMk/>
            <pc:sldMk cId="2043126180" sldId="2147472869"/>
            <ac:spMk id="107" creationId="{C7B8CEDE-F5BE-6226-F7EE-ADC06331FCF7}"/>
          </ac:spMkLst>
        </pc:spChg>
        <pc:spChg chg="add mod">
          <ac:chgData name="Daniel Cole" userId="f20a75f9320a1647" providerId="LiveId" clId="{42D3E951-AF5C-4164-98AB-2347A3B6E1E6}" dt="2024-03-31T01:38:34.139" v="25740"/>
          <ac:spMkLst>
            <pc:docMk/>
            <pc:sldMk cId="2043126180" sldId="2147472869"/>
            <ac:spMk id="108" creationId="{86B5B222-0CC7-224D-FDEF-66F538C92736}"/>
          </ac:spMkLst>
        </pc:spChg>
        <pc:spChg chg="add del mod">
          <ac:chgData name="Daniel Cole" userId="f20a75f9320a1647" providerId="LiveId" clId="{42D3E951-AF5C-4164-98AB-2347A3B6E1E6}" dt="2024-03-31T01:39:54.651" v="25855" actId="478"/>
          <ac:spMkLst>
            <pc:docMk/>
            <pc:sldMk cId="2043126180" sldId="2147472869"/>
            <ac:spMk id="109" creationId="{A8135A8B-5E7A-ED71-D41E-118ED307BBF4}"/>
          </ac:spMkLst>
        </pc:spChg>
        <pc:spChg chg="add mod">
          <ac:chgData name="Daniel Cole" userId="f20a75f9320a1647" providerId="LiveId" clId="{42D3E951-AF5C-4164-98AB-2347A3B6E1E6}" dt="2024-03-31T18:13:04.571" v="29654" actId="20577"/>
          <ac:spMkLst>
            <pc:docMk/>
            <pc:sldMk cId="2043126180" sldId="2147472869"/>
            <ac:spMk id="110" creationId="{99406AE1-EE77-2938-A85A-D0600A6AB523}"/>
          </ac:spMkLst>
        </pc:spChg>
        <pc:spChg chg="add mod">
          <ac:chgData name="Daniel Cole" userId="f20a75f9320a1647" providerId="LiveId" clId="{42D3E951-AF5C-4164-98AB-2347A3B6E1E6}" dt="2024-03-31T02:00:11.708" v="26424" actId="1076"/>
          <ac:spMkLst>
            <pc:docMk/>
            <pc:sldMk cId="2043126180" sldId="2147472869"/>
            <ac:spMk id="111" creationId="{FECE385D-1F76-A819-6515-89BD0F56B987}"/>
          </ac:spMkLst>
        </pc:spChg>
        <pc:spChg chg="mod">
          <ac:chgData name="Daniel Cole" userId="f20a75f9320a1647" providerId="LiveId" clId="{42D3E951-AF5C-4164-98AB-2347A3B6E1E6}" dt="2024-03-31T01:51:06.355" v="26243"/>
          <ac:spMkLst>
            <pc:docMk/>
            <pc:sldMk cId="2043126180" sldId="2147472869"/>
            <ac:spMk id="113" creationId="{1BA93403-1716-1BB5-0A58-270ACDCAC7FA}"/>
          </ac:spMkLst>
        </pc:spChg>
        <pc:spChg chg="mod">
          <ac:chgData name="Daniel Cole" userId="f20a75f9320a1647" providerId="LiveId" clId="{42D3E951-AF5C-4164-98AB-2347A3B6E1E6}" dt="2024-03-31T01:51:06.355" v="26243"/>
          <ac:spMkLst>
            <pc:docMk/>
            <pc:sldMk cId="2043126180" sldId="2147472869"/>
            <ac:spMk id="115" creationId="{5331DA84-2287-72CB-F92E-9A3370832DF9}"/>
          </ac:spMkLst>
        </pc:spChg>
        <pc:spChg chg="mod">
          <ac:chgData name="Daniel Cole" userId="f20a75f9320a1647" providerId="LiveId" clId="{42D3E951-AF5C-4164-98AB-2347A3B6E1E6}" dt="2024-03-31T01:51:06.355" v="26243"/>
          <ac:spMkLst>
            <pc:docMk/>
            <pc:sldMk cId="2043126180" sldId="2147472869"/>
            <ac:spMk id="117" creationId="{7AE612AC-CD09-C355-2454-EA37F18DAEFF}"/>
          </ac:spMkLst>
        </pc:spChg>
        <pc:spChg chg="add mod">
          <ac:chgData name="Daniel Cole" userId="f20a75f9320a1647" providerId="LiveId" clId="{42D3E951-AF5C-4164-98AB-2347A3B6E1E6}" dt="2024-03-31T01:51:06.355" v="26243"/>
          <ac:spMkLst>
            <pc:docMk/>
            <pc:sldMk cId="2043126180" sldId="2147472869"/>
            <ac:spMk id="118" creationId="{40547D3A-2386-67CB-AB16-FC41379E2C2E}"/>
          </ac:spMkLst>
        </pc:spChg>
        <pc:spChg chg="add del mod">
          <ac:chgData name="Daniel Cole" userId="f20a75f9320a1647" providerId="LiveId" clId="{42D3E951-AF5C-4164-98AB-2347A3B6E1E6}" dt="2024-03-31T01:59:52.873" v="26417" actId="478"/>
          <ac:spMkLst>
            <pc:docMk/>
            <pc:sldMk cId="2043126180" sldId="2147472869"/>
            <ac:spMk id="132" creationId="{73249221-372E-26FF-FB6F-E94F3CB27506}"/>
          </ac:spMkLst>
        </pc:spChg>
        <pc:spChg chg="add mod">
          <ac:chgData name="Daniel Cole" userId="f20a75f9320a1647" providerId="LiveId" clId="{42D3E951-AF5C-4164-98AB-2347A3B6E1E6}" dt="2024-03-31T01:51:06.355" v="26243"/>
          <ac:spMkLst>
            <pc:docMk/>
            <pc:sldMk cId="2043126180" sldId="2147472869"/>
            <ac:spMk id="133" creationId="{968D14C5-CDFE-CDE7-EC3E-1712BC7777A2}"/>
          </ac:spMkLst>
        </pc:spChg>
        <pc:spChg chg="add mod">
          <ac:chgData name="Daniel Cole" userId="f20a75f9320a1647" providerId="LiveId" clId="{42D3E951-AF5C-4164-98AB-2347A3B6E1E6}" dt="2024-03-31T01:51:06.355" v="26243"/>
          <ac:spMkLst>
            <pc:docMk/>
            <pc:sldMk cId="2043126180" sldId="2147472869"/>
            <ac:spMk id="134" creationId="{04333A3E-A53B-5BAA-607C-AE598ADD4FC6}"/>
          </ac:spMkLst>
        </pc:spChg>
        <pc:spChg chg="add mod">
          <ac:chgData name="Daniel Cole" userId="f20a75f9320a1647" providerId="LiveId" clId="{42D3E951-AF5C-4164-98AB-2347A3B6E1E6}" dt="2024-03-31T01:51:06.355" v="26243"/>
          <ac:spMkLst>
            <pc:docMk/>
            <pc:sldMk cId="2043126180" sldId="2147472869"/>
            <ac:spMk id="135" creationId="{3ABD4C0B-A5F1-272E-92EB-61D49902E87F}"/>
          </ac:spMkLst>
        </pc:spChg>
        <pc:spChg chg="add mod">
          <ac:chgData name="Daniel Cole" userId="f20a75f9320a1647" providerId="LiveId" clId="{42D3E951-AF5C-4164-98AB-2347A3B6E1E6}" dt="2024-03-31T01:51:06.355" v="26243"/>
          <ac:spMkLst>
            <pc:docMk/>
            <pc:sldMk cId="2043126180" sldId="2147472869"/>
            <ac:spMk id="136" creationId="{1F7723B5-827E-D884-3342-97B751E6BFA4}"/>
          </ac:spMkLst>
        </pc:spChg>
        <pc:spChg chg="add mod">
          <ac:chgData name="Daniel Cole" userId="f20a75f9320a1647" providerId="LiveId" clId="{42D3E951-AF5C-4164-98AB-2347A3B6E1E6}" dt="2024-03-31T02:00:28.103" v="26425" actId="1076"/>
          <ac:spMkLst>
            <pc:docMk/>
            <pc:sldMk cId="2043126180" sldId="2147472869"/>
            <ac:spMk id="137" creationId="{9FD70114-CE17-7519-DB82-8B9C26288E97}"/>
          </ac:spMkLst>
        </pc:spChg>
        <pc:spChg chg="add mod">
          <ac:chgData name="Daniel Cole" userId="f20a75f9320a1647" providerId="LiveId" clId="{42D3E951-AF5C-4164-98AB-2347A3B6E1E6}" dt="2024-03-31T01:51:06.355" v="26243"/>
          <ac:spMkLst>
            <pc:docMk/>
            <pc:sldMk cId="2043126180" sldId="2147472869"/>
            <ac:spMk id="138" creationId="{CC9E1456-CE27-35B7-20CE-0E3880CD0943}"/>
          </ac:spMkLst>
        </pc:spChg>
        <pc:spChg chg="add mod">
          <ac:chgData name="Daniel Cole" userId="f20a75f9320a1647" providerId="LiveId" clId="{42D3E951-AF5C-4164-98AB-2347A3B6E1E6}" dt="2024-03-31T01:51:06.355" v="26243"/>
          <ac:spMkLst>
            <pc:docMk/>
            <pc:sldMk cId="2043126180" sldId="2147472869"/>
            <ac:spMk id="139" creationId="{47B4EC15-0C9A-F321-3030-EBB35BA082CE}"/>
          </ac:spMkLst>
        </pc:spChg>
        <pc:spChg chg="add mod">
          <ac:chgData name="Daniel Cole" userId="f20a75f9320a1647" providerId="LiveId" clId="{42D3E951-AF5C-4164-98AB-2347A3B6E1E6}" dt="2024-03-31T02:01:27.994" v="26434" actId="1076"/>
          <ac:spMkLst>
            <pc:docMk/>
            <pc:sldMk cId="2043126180" sldId="2147472869"/>
            <ac:spMk id="140" creationId="{322A4AF2-F0A4-0AA2-8900-A231D75B4609}"/>
          </ac:spMkLst>
        </pc:spChg>
        <pc:spChg chg="add mod">
          <ac:chgData name="Daniel Cole" userId="f20a75f9320a1647" providerId="LiveId" clId="{42D3E951-AF5C-4164-98AB-2347A3B6E1E6}" dt="2024-03-31T01:59:27.902" v="26382" actId="20577"/>
          <ac:spMkLst>
            <pc:docMk/>
            <pc:sldMk cId="2043126180" sldId="2147472869"/>
            <ac:spMk id="141" creationId="{EF38916D-ED1D-51D8-8FD5-1D6DBE9CCEE1}"/>
          </ac:spMkLst>
        </pc:spChg>
        <pc:spChg chg="add mod">
          <ac:chgData name="Daniel Cole" userId="f20a75f9320a1647" providerId="LiveId" clId="{42D3E951-AF5C-4164-98AB-2347A3B6E1E6}" dt="2024-03-31T02:01:07.087" v="26432" actId="20577"/>
          <ac:spMkLst>
            <pc:docMk/>
            <pc:sldMk cId="2043126180" sldId="2147472869"/>
            <ac:spMk id="142" creationId="{B079E553-41D0-0D22-7024-7EDC15B98C37}"/>
          </ac:spMkLst>
        </pc:spChg>
        <pc:spChg chg="add mod">
          <ac:chgData name="Daniel Cole" userId="f20a75f9320a1647" providerId="LiveId" clId="{42D3E951-AF5C-4164-98AB-2347A3B6E1E6}" dt="2024-03-31T01:51:06.355" v="26243"/>
          <ac:spMkLst>
            <pc:docMk/>
            <pc:sldMk cId="2043126180" sldId="2147472869"/>
            <ac:spMk id="143" creationId="{18F32EB1-98F6-698B-5B2B-B9542C92256D}"/>
          </ac:spMkLst>
        </pc:spChg>
        <pc:spChg chg="add mod">
          <ac:chgData name="Daniel Cole" userId="f20a75f9320a1647" providerId="LiveId" clId="{42D3E951-AF5C-4164-98AB-2347A3B6E1E6}" dt="2024-03-31T01:51:06.355" v="26243"/>
          <ac:spMkLst>
            <pc:docMk/>
            <pc:sldMk cId="2043126180" sldId="2147472869"/>
            <ac:spMk id="144" creationId="{2F3E4769-3ED6-8C0A-0F3D-9E796833EA06}"/>
          </ac:spMkLst>
        </pc:spChg>
        <pc:spChg chg="add mod">
          <ac:chgData name="Daniel Cole" userId="f20a75f9320a1647" providerId="LiveId" clId="{42D3E951-AF5C-4164-98AB-2347A3B6E1E6}" dt="2024-03-31T02:00:04.844" v="26421" actId="1076"/>
          <ac:spMkLst>
            <pc:docMk/>
            <pc:sldMk cId="2043126180" sldId="2147472869"/>
            <ac:spMk id="145" creationId="{5572D35D-FD66-2C45-2A8C-1CFE1B59108D}"/>
          </ac:spMkLst>
        </pc:spChg>
        <pc:spChg chg="add mod">
          <ac:chgData name="Daniel Cole" userId="f20a75f9320a1647" providerId="LiveId" clId="{42D3E951-AF5C-4164-98AB-2347A3B6E1E6}" dt="2024-03-31T02:00:10.858" v="26423" actId="1076"/>
          <ac:spMkLst>
            <pc:docMk/>
            <pc:sldMk cId="2043126180" sldId="2147472869"/>
            <ac:spMk id="146" creationId="{0D2EB17A-EA6F-AA75-5CD9-930BA9A9E6E0}"/>
          </ac:spMkLst>
        </pc:spChg>
        <pc:spChg chg="add mod">
          <ac:chgData name="Daniel Cole" userId="f20a75f9320a1647" providerId="LiveId" clId="{42D3E951-AF5C-4164-98AB-2347A3B6E1E6}" dt="2024-03-31T02:00:56.856" v="26430" actId="20577"/>
          <ac:spMkLst>
            <pc:docMk/>
            <pc:sldMk cId="2043126180" sldId="2147472869"/>
            <ac:spMk id="147" creationId="{618E12A1-7FCA-407F-DF90-3D4E0B53AAC3}"/>
          </ac:spMkLst>
        </pc:spChg>
        <pc:spChg chg="add mod">
          <ac:chgData name="Daniel Cole" userId="f20a75f9320a1647" providerId="LiveId" clId="{42D3E951-AF5C-4164-98AB-2347A3B6E1E6}" dt="2024-03-31T02:02:19.677" v="26470" actId="1076"/>
          <ac:spMkLst>
            <pc:docMk/>
            <pc:sldMk cId="2043126180" sldId="2147472869"/>
            <ac:spMk id="148" creationId="{830D42E2-49A6-8CC9-BE04-FA2EE511A576}"/>
          </ac:spMkLst>
        </pc:spChg>
        <pc:spChg chg="add mod">
          <ac:chgData name="Daniel Cole" userId="f20a75f9320a1647" providerId="LiveId" clId="{42D3E951-AF5C-4164-98AB-2347A3B6E1E6}" dt="2024-03-31T02:10:12.818" v="26636" actId="20577"/>
          <ac:spMkLst>
            <pc:docMk/>
            <pc:sldMk cId="2043126180" sldId="2147472869"/>
            <ac:spMk id="149" creationId="{CAADDE77-EA9C-0960-7475-A11DA82F26D1}"/>
          </ac:spMkLst>
        </pc:spChg>
        <pc:grpChg chg="add del mod">
          <ac:chgData name="Daniel Cole" userId="f20a75f9320a1647" providerId="LiveId" clId="{42D3E951-AF5C-4164-98AB-2347A3B6E1E6}" dt="2024-03-31T00:19:02.470" v="24263" actId="478"/>
          <ac:grpSpMkLst>
            <pc:docMk/>
            <pc:sldMk cId="2043126180" sldId="2147472869"/>
            <ac:grpSpMk id="9" creationId="{B42F3559-65A6-D9B1-2C77-2CC934FA274F}"/>
          </ac:grpSpMkLst>
        </pc:grpChg>
        <pc:grpChg chg="mod">
          <ac:chgData name="Daniel Cole" userId="f20a75f9320a1647" providerId="LiveId" clId="{42D3E951-AF5C-4164-98AB-2347A3B6E1E6}" dt="2024-03-30T23:11:38.672" v="22699" actId="207"/>
          <ac:grpSpMkLst>
            <pc:docMk/>
            <pc:sldMk cId="2043126180" sldId="2147472869"/>
            <ac:grpSpMk id="30" creationId="{00000000-0000-0000-0000-000000000000}"/>
          </ac:grpSpMkLst>
        </pc:grpChg>
        <pc:grpChg chg="add del">
          <ac:chgData name="Daniel Cole" userId="f20a75f9320a1647" providerId="LiveId" clId="{42D3E951-AF5C-4164-98AB-2347A3B6E1E6}" dt="2024-03-31T01:50:51.011" v="26242" actId="478"/>
          <ac:grpSpMkLst>
            <pc:docMk/>
            <pc:sldMk cId="2043126180" sldId="2147472869"/>
            <ac:grpSpMk id="38" creationId="{00000000-0000-0000-0000-000000000000}"/>
          </ac:grpSpMkLst>
        </pc:grpChg>
        <pc:grpChg chg="add del mod topLvl">
          <ac:chgData name="Daniel Cole" userId="f20a75f9320a1647" providerId="LiveId" clId="{42D3E951-AF5C-4164-98AB-2347A3B6E1E6}" dt="2024-03-31T01:50:51.011" v="26242" actId="478"/>
          <ac:grpSpMkLst>
            <pc:docMk/>
            <pc:sldMk cId="2043126180" sldId="2147472869"/>
            <ac:grpSpMk id="82" creationId="{8E527C9F-3A26-02F9-C146-2937EF94EE45}"/>
          </ac:grpSpMkLst>
        </pc:grpChg>
        <pc:grpChg chg="add del mod">
          <ac:chgData name="Daniel Cole" userId="f20a75f9320a1647" providerId="LiveId" clId="{42D3E951-AF5C-4164-98AB-2347A3B6E1E6}" dt="2024-03-31T00:20:49.135" v="24310" actId="165"/>
          <ac:grpSpMkLst>
            <pc:docMk/>
            <pc:sldMk cId="2043126180" sldId="2147472869"/>
            <ac:grpSpMk id="103" creationId="{BA6F652D-A9A7-CB18-081D-EA4278BFE90B}"/>
          </ac:grpSpMkLst>
        </pc:grpChg>
        <pc:grpChg chg="add mod">
          <ac:chgData name="Daniel Cole" userId="f20a75f9320a1647" providerId="LiveId" clId="{42D3E951-AF5C-4164-98AB-2347A3B6E1E6}" dt="2024-03-31T01:51:06.355" v="26243"/>
          <ac:grpSpMkLst>
            <pc:docMk/>
            <pc:sldMk cId="2043126180" sldId="2147472869"/>
            <ac:grpSpMk id="112" creationId="{EC029D2C-96E9-6C1B-26F0-BB23A6628391}"/>
          </ac:grpSpMkLst>
        </pc:grpChg>
        <pc:grpChg chg="add mod">
          <ac:chgData name="Daniel Cole" userId="f20a75f9320a1647" providerId="LiveId" clId="{42D3E951-AF5C-4164-98AB-2347A3B6E1E6}" dt="2024-03-31T01:51:06.355" v="26243"/>
          <ac:grpSpMkLst>
            <pc:docMk/>
            <pc:sldMk cId="2043126180" sldId="2147472869"/>
            <ac:grpSpMk id="119" creationId="{208622FE-32A9-D563-9C04-105EA16E1F04}"/>
          </ac:grpSpMkLst>
        </pc:grpChg>
        <pc:picChg chg="del">
          <ac:chgData name="Daniel Cole" userId="f20a75f9320a1647" providerId="LiveId" clId="{42D3E951-AF5C-4164-98AB-2347A3B6E1E6}" dt="2024-03-31T00:07:39.308" v="24223" actId="478"/>
          <ac:picMkLst>
            <pc:docMk/>
            <pc:sldMk cId="2043126180" sldId="2147472869"/>
            <ac:picMk id="40" creationId="{00000000-0000-0000-0000-000000000000}"/>
          </ac:picMkLst>
        </pc:picChg>
        <pc:picChg chg="del">
          <ac:chgData name="Daniel Cole" userId="f20a75f9320a1647" providerId="LiveId" clId="{42D3E951-AF5C-4164-98AB-2347A3B6E1E6}" dt="2024-03-31T00:07:39.308" v="24223" actId="478"/>
          <ac:picMkLst>
            <pc:docMk/>
            <pc:sldMk cId="2043126180" sldId="2147472869"/>
            <ac:picMk id="41" creationId="{00000000-0000-0000-0000-000000000000}"/>
          </ac:picMkLst>
        </pc:picChg>
        <pc:picChg chg="del">
          <ac:chgData name="Daniel Cole" userId="f20a75f9320a1647" providerId="LiveId" clId="{42D3E951-AF5C-4164-98AB-2347A3B6E1E6}" dt="2024-03-31T00:07:39.308" v="24223" actId="478"/>
          <ac:picMkLst>
            <pc:docMk/>
            <pc:sldMk cId="2043126180" sldId="2147472869"/>
            <ac:picMk id="42" creationId="{00000000-0000-0000-0000-000000000000}"/>
          </ac:picMkLst>
        </pc:picChg>
        <pc:picChg chg="del">
          <ac:chgData name="Daniel Cole" userId="f20a75f9320a1647" providerId="LiveId" clId="{42D3E951-AF5C-4164-98AB-2347A3B6E1E6}" dt="2024-03-31T00:07:39.308" v="24223" actId="478"/>
          <ac:picMkLst>
            <pc:docMk/>
            <pc:sldMk cId="2043126180" sldId="2147472869"/>
            <ac:picMk id="43" creationId="{00000000-0000-0000-0000-000000000000}"/>
          </ac:picMkLst>
        </pc:picChg>
        <pc:picChg chg="del">
          <ac:chgData name="Daniel Cole" userId="f20a75f9320a1647" providerId="LiveId" clId="{42D3E951-AF5C-4164-98AB-2347A3B6E1E6}" dt="2024-03-31T00:07:46.393" v="24224" actId="478"/>
          <ac:picMkLst>
            <pc:docMk/>
            <pc:sldMk cId="2043126180" sldId="2147472869"/>
            <ac:picMk id="44" creationId="{00000000-0000-0000-0000-000000000000}"/>
          </ac:picMkLst>
        </pc:picChg>
        <pc:picChg chg="del">
          <ac:chgData name="Daniel Cole" userId="f20a75f9320a1647" providerId="LiveId" clId="{42D3E951-AF5C-4164-98AB-2347A3B6E1E6}" dt="2024-03-31T00:07:46.393" v="24224" actId="478"/>
          <ac:picMkLst>
            <pc:docMk/>
            <pc:sldMk cId="2043126180" sldId="2147472869"/>
            <ac:picMk id="45" creationId="{00000000-0000-0000-0000-000000000000}"/>
          </ac:picMkLst>
        </pc:picChg>
        <pc:picChg chg="del">
          <ac:chgData name="Daniel Cole" userId="f20a75f9320a1647" providerId="LiveId" clId="{42D3E951-AF5C-4164-98AB-2347A3B6E1E6}" dt="2024-03-31T00:07:46.393" v="24224" actId="478"/>
          <ac:picMkLst>
            <pc:docMk/>
            <pc:sldMk cId="2043126180" sldId="2147472869"/>
            <ac:picMk id="46" creationId="{00000000-0000-0000-0000-000000000000}"/>
          </ac:picMkLst>
        </pc:picChg>
        <pc:picChg chg="del">
          <ac:chgData name="Daniel Cole" userId="f20a75f9320a1647" providerId="LiveId" clId="{42D3E951-AF5C-4164-98AB-2347A3B6E1E6}" dt="2024-03-31T00:07:46.393" v="24224" actId="478"/>
          <ac:picMkLst>
            <pc:docMk/>
            <pc:sldMk cId="2043126180" sldId="2147472869"/>
            <ac:picMk id="47" creationId="{00000000-0000-0000-0000-000000000000}"/>
          </ac:picMkLst>
        </pc:picChg>
        <pc:picChg chg="del">
          <ac:chgData name="Daniel Cole" userId="f20a75f9320a1647" providerId="LiveId" clId="{42D3E951-AF5C-4164-98AB-2347A3B6E1E6}" dt="2024-03-31T00:07:46.393" v="24224" actId="478"/>
          <ac:picMkLst>
            <pc:docMk/>
            <pc:sldMk cId="2043126180" sldId="2147472869"/>
            <ac:picMk id="53" creationId="{00000000-0000-0000-0000-000000000000}"/>
          </ac:picMkLst>
        </pc:picChg>
        <pc:picChg chg="del">
          <ac:chgData name="Daniel Cole" userId="f20a75f9320a1647" providerId="LiveId" clId="{42D3E951-AF5C-4164-98AB-2347A3B6E1E6}" dt="2024-03-31T00:07:39.308" v="24223" actId="478"/>
          <ac:picMkLst>
            <pc:docMk/>
            <pc:sldMk cId="2043126180" sldId="2147472869"/>
            <ac:picMk id="54" creationId="{00000000-0000-0000-0000-000000000000}"/>
          </ac:picMkLst>
        </pc:picChg>
        <pc:picChg chg="mod">
          <ac:chgData name="Daniel Cole" userId="f20a75f9320a1647" providerId="LiveId" clId="{42D3E951-AF5C-4164-98AB-2347A3B6E1E6}" dt="2024-03-31T01:51:06.355" v="26243"/>
          <ac:picMkLst>
            <pc:docMk/>
            <pc:sldMk cId="2043126180" sldId="2147472869"/>
            <ac:picMk id="114" creationId="{07E504EC-76C0-2DB7-C669-4560285E119A}"/>
          </ac:picMkLst>
        </pc:picChg>
        <pc:picChg chg="mod">
          <ac:chgData name="Daniel Cole" userId="f20a75f9320a1647" providerId="LiveId" clId="{42D3E951-AF5C-4164-98AB-2347A3B6E1E6}" dt="2024-03-31T01:51:06.355" v="26243"/>
          <ac:picMkLst>
            <pc:docMk/>
            <pc:sldMk cId="2043126180" sldId="2147472869"/>
            <ac:picMk id="116" creationId="{00FC78A6-E2ED-AE7B-7FDB-5D25CE6F18AB}"/>
          </ac:picMkLst>
        </pc:picChg>
        <pc:cxnChg chg="mod">
          <ac:chgData name="Daniel Cole" userId="f20a75f9320a1647" providerId="LiveId" clId="{42D3E951-AF5C-4164-98AB-2347A3B6E1E6}" dt="2024-03-31T00:18:54.807" v="24245"/>
          <ac:cxnSpMkLst>
            <pc:docMk/>
            <pc:sldMk cId="2043126180" sldId="2147472869"/>
            <ac:cxnSpMk id="12" creationId="{04EADE58-616A-A255-683A-5DF53688B389}"/>
          </ac:cxnSpMkLst>
        </pc:cxnChg>
        <pc:cxnChg chg="mod">
          <ac:chgData name="Daniel Cole" userId="f20a75f9320a1647" providerId="LiveId" clId="{42D3E951-AF5C-4164-98AB-2347A3B6E1E6}" dt="2024-03-31T00:18:54.807" v="24245"/>
          <ac:cxnSpMkLst>
            <pc:docMk/>
            <pc:sldMk cId="2043126180" sldId="2147472869"/>
            <ac:cxnSpMk id="19" creationId="{CF0B934F-A7A0-C2FF-0592-AABDFCC1C4D8}"/>
          </ac:cxnSpMkLst>
        </pc:cxnChg>
        <pc:cxnChg chg="mod">
          <ac:chgData name="Daniel Cole" userId="f20a75f9320a1647" providerId="LiveId" clId="{42D3E951-AF5C-4164-98AB-2347A3B6E1E6}" dt="2024-03-31T00:18:54.807" v="24245"/>
          <ac:cxnSpMkLst>
            <pc:docMk/>
            <pc:sldMk cId="2043126180" sldId="2147472869"/>
            <ac:cxnSpMk id="56" creationId="{B8424F09-EFE9-DC37-19CB-9A13C7D92A6C}"/>
          </ac:cxnSpMkLst>
        </pc:cxnChg>
        <pc:cxnChg chg="mod">
          <ac:chgData name="Daniel Cole" userId="f20a75f9320a1647" providerId="LiveId" clId="{42D3E951-AF5C-4164-98AB-2347A3B6E1E6}" dt="2024-03-31T00:18:54.807" v="24245"/>
          <ac:cxnSpMkLst>
            <pc:docMk/>
            <pc:sldMk cId="2043126180" sldId="2147472869"/>
            <ac:cxnSpMk id="61" creationId="{53F40FFC-99D8-4691-10FB-0E4D35F72902}"/>
          </ac:cxnSpMkLst>
        </pc:cxnChg>
        <pc:cxnChg chg="mod">
          <ac:chgData name="Daniel Cole" userId="f20a75f9320a1647" providerId="LiveId" clId="{42D3E951-AF5C-4164-98AB-2347A3B6E1E6}" dt="2024-03-31T00:18:54.807" v="24245"/>
          <ac:cxnSpMkLst>
            <pc:docMk/>
            <pc:sldMk cId="2043126180" sldId="2147472869"/>
            <ac:cxnSpMk id="62" creationId="{602E208D-8D97-AEF9-9487-62EAAE98537C}"/>
          </ac:cxnSpMkLst>
        </pc:cxnChg>
        <pc:cxnChg chg="mod">
          <ac:chgData name="Daniel Cole" userId="f20a75f9320a1647" providerId="LiveId" clId="{42D3E951-AF5C-4164-98AB-2347A3B6E1E6}" dt="2024-03-31T00:18:54.807" v="24245"/>
          <ac:cxnSpMkLst>
            <pc:docMk/>
            <pc:sldMk cId="2043126180" sldId="2147472869"/>
            <ac:cxnSpMk id="63" creationId="{2B598013-7C22-98CD-002C-CE2E5EB70008}"/>
          </ac:cxnSpMkLst>
        </pc:cxnChg>
        <pc:cxnChg chg="mod">
          <ac:chgData name="Daniel Cole" userId="f20a75f9320a1647" providerId="LiveId" clId="{42D3E951-AF5C-4164-98AB-2347A3B6E1E6}" dt="2024-03-31T00:18:54.807" v="24245"/>
          <ac:cxnSpMkLst>
            <pc:docMk/>
            <pc:sldMk cId="2043126180" sldId="2147472869"/>
            <ac:cxnSpMk id="64" creationId="{263971F3-7A14-4897-277F-5AA7A517C68F}"/>
          </ac:cxnSpMkLst>
        </pc:cxnChg>
        <pc:cxnChg chg="mod">
          <ac:chgData name="Daniel Cole" userId="f20a75f9320a1647" providerId="LiveId" clId="{42D3E951-AF5C-4164-98AB-2347A3B6E1E6}" dt="2024-03-31T00:18:54.807" v="24245"/>
          <ac:cxnSpMkLst>
            <pc:docMk/>
            <pc:sldMk cId="2043126180" sldId="2147472869"/>
            <ac:cxnSpMk id="65" creationId="{747E52E8-CA58-24F2-E147-055EEFEF23C9}"/>
          </ac:cxnSpMkLst>
        </pc:cxnChg>
        <pc:cxnChg chg="mod">
          <ac:chgData name="Daniel Cole" userId="f20a75f9320a1647" providerId="LiveId" clId="{42D3E951-AF5C-4164-98AB-2347A3B6E1E6}" dt="2024-03-31T00:18:54.807" v="24245"/>
          <ac:cxnSpMkLst>
            <pc:docMk/>
            <pc:sldMk cId="2043126180" sldId="2147472869"/>
            <ac:cxnSpMk id="66" creationId="{F6D80A3F-FE56-9B29-8107-0B493B6291C5}"/>
          </ac:cxnSpMkLst>
        </pc:cxnChg>
        <pc:cxnChg chg="mod">
          <ac:chgData name="Daniel Cole" userId="f20a75f9320a1647" providerId="LiveId" clId="{42D3E951-AF5C-4164-98AB-2347A3B6E1E6}" dt="2024-03-31T00:18:54.807" v="24245"/>
          <ac:cxnSpMkLst>
            <pc:docMk/>
            <pc:sldMk cId="2043126180" sldId="2147472869"/>
            <ac:cxnSpMk id="67" creationId="{6F739DD7-D785-E25C-32FD-EA7F0E3BB4D8}"/>
          </ac:cxnSpMkLst>
        </pc:cxnChg>
        <pc:cxnChg chg="mod">
          <ac:chgData name="Daniel Cole" userId="f20a75f9320a1647" providerId="LiveId" clId="{42D3E951-AF5C-4164-98AB-2347A3B6E1E6}" dt="2024-03-31T00:18:54.807" v="24245"/>
          <ac:cxnSpMkLst>
            <pc:docMk/>
            <pc:sldMk cId="2043126180" sldId="2147472869"/>
            <ac:cxnSpMk id="68" creationId="{D1569BBC-90FB-700F-662A-9065442445E9}"/>
          </ac:cxnSpMkLst>
        </pc:cxnChg>
        <pc:cxnChg chg="mod">
          <ac:chgData name="Daniel Cole" userId="f20a75f9320a1647" providerId="LiveId" clId="{42D3E951-AF5C-4164-98AB-2347A3B6E1E6}" dt="2024-03-31T00:18:54.807" v="24245"/>
          <ac:cxnSpMkLst>
            <pc:docMk/>
            <pc:sldMk cId="2043126180" sldId="2147472869"/>
            <ac:cxnSpMk id="69" creationId="{83A9DD38-BD8B-DABD-DBB3-466B81770F5B}"/>
          </ac:cxnSpMkLst>
        </pc:cxnChg>
        <pc:cxnChg chg="add del mod">
          <ac:chgData name="Daniel Cole" userId="f20a75f9320a1647" providerId="LiveId" clId="{42D3E951-AF5C-4164-98AB-2347A3B6E1E6}" dt="2024-03-31T00:19:02.470" v="24263" actId="478"/>
          <ac:cxnSpMkLst>
            <pc:docMk/>
            <pc:sldMk cId="2043126180" sldId="2147472869"/>
            <ac:cxnSpMk id="75" creationId="{B51ABA59-E11E-9794-9AD5-FBF40F65C827}"/>
          </ac:cxnSpMkLst>
        </pc:cxnChg>
        <pc:cxnChg chg="add del mod">
          <ac:chgData name="Daniel Cole" userId="f20a75f9320a1647" providerId="LiveId" clId="{42D3E951-AF5C-4164-98AB-2347A3B6E1E6}" dt="2024-03-31T00:19:02.470" v="24263" actId="478"/>
          <ac:cxnSpMkLst>
            <pc:docMk/>
            <pc:sldMk cId="2043126180" sldId="2147472869"/>
            <ac:cxnSpMk id="76" creationId="{C745719D-3996-616A-F5FF-618F53E6ACDB}"/>
          </ac:cxnSpMkLst>
        </pc:cxnChg>
        <pc:cxnChg chg="add del mod">
          <ac:chgData name="Daniel Cole" userId="f20a75f9320a1647" providerId="LiveId" clId="{42D3E951-AF5C-4164-98AB-2347A3B6E1E6}" dt="2024-03-31T00:19:02.470" v="24263" actId="478"/>
          <ac:cxnSpMkLst>
            <pc:docMk/>
            <pc:sldMk cId="2043126180" sldId="2147472869"/>
            <ac:cxnSpMk id="77" creationId="{BC234A37-F9FA-81C5-F7F0-974F4A074228}"/>
          </ac:cxnSpMkLst>
        </pc:cxnChg>
        <pc:cxnChg chg="mod">
          <ac:chgData name="Daniel Cole" userId="f20a75f9320a1647" providerId="LiveId" clId="{42D3E951-AF5C-4164-98AB-2347A3B6E1E6}" dt="2024-03-31T00:20:49.135" v="24310" actId="165"/>
          <ac:cxnSpMkLst>
            <pc:docMk/>
            <pc:sldMk cId="2043126180" sldId="2147472869"/>
            <ac:cxnSpMk id="83" creationId="{900637BE-DA9C-1B55-CCAC-E78272D4BD91}"/>
          </ac:cxnSpMkLst>
        </pc:cxnChg>
        <pc:cxnChg chg="mod">
          <ac:chgData name="Daniel Cole" userId="f20a75f9320a1647" providerId="LiveId" clId="{42D3E951-AF5C-4164-98AB-2347A3B6E1E6}" dt="2024-03-31T00:20:49.135" v="24310" actId="165"/>
          <ac:cxnSpMkLst>
            <pc:docMk/>
            <pc:sldMk cId="2043126180" sldId="2147472869"/>
            <ac:cxnSpMk id="84" creationId="{84317BD0-285B-2564-B1E7-0D68DF51D38F}"/>
          </ac:cxnSpMkLst>
        </pc:cxnChg>
        <pc:cxnChg chg="mod">
          <ac:chgData name="Daniel Cole" userId="f20a75f9320a1647" providerId="LiveId" clId="{42D3E951-AF5C-4164-98AB-2347A3B6E1E6}" dt="2024-03-31T00:20:49.135" v="24310" actId="165"/>
          <ac:cxnSpMkLst>
            <pc:docMk/>
            <pc:sldMk cId="2043126180" sldId="2147472869"/>
            <ac:cxnSpMk id="85" creationId="{CC5460EB-2ECC-C2A5-F696-F62A08B698E7}"/>
          </ac:cxnSpMkLst>
        </pc:cxnChg>
        <pc:cxnChg chg="mod">
          <ac:chgData name="Daniel Cole" userId="f20a75f9320a1647" providerId="LiveId" clId="{42D3E951-AF5C-4164-98AB-2347A3B6E1E6}" dt="2024-03-31T00:20:49.135" v="24310" actId="165"/>
          <ac:cxnSpMkLst>
            <pc:docMk/>
            <pc:sldMk cId="2043126180" sldId="2147472869"/>
            <ac:cxnSpMk id="86" creationId="{2F522596-F1AB-8BCD-D4E5-7A7DFA7F6472}"/>
          </ac:cxnSpMkLst>
        </pc:cxnChg>
        <pc:cxnChg chg="mod">
          <ac:chgData name="Daniel Cole" userId="f20a75f9320a1647" providerId="LiveId" clId="{42D3E951-AF5C-4164-98AB-2347A3B6E1E6}" dt="2024-03-31T00:20:49.135" v="24310" actId="165"/>
          <ac:cxnSpMkLst>
            <pc:docMk/>
            <pc:sldMk cId="2043126180" sldId="2147472869"/>
            <ac:cxnSpMk id="87" creationId="{8021E585-A7C2-A643-73A1-C47576E7B9F3}"/>
          </ac:cxnSpMkLst>
        </pc:cxnChg>
        <pc:cxnChg chg="mod">
          <ac:chgData name="Daniel Cole" userId="f20a75f9320a1647" providerId="LiveId" clId="{42D3E951-AF5C-4164-98AB-2347A3B6E1E6}" dt="2024-03-31T00:20:49.135" v="24310" actId="165"/>
          <ac:cxnSpMkLst>
            <pc:docMk/>
            <pc:sldMk cId="2043126180" sldId="2147472869"/>
            <ac:cxnSpMk id="88" creationId="{D1A40E9D-63C1-0DDC-2A9C-854C060ADEE0}"/>
          </ac:cxnSpMkLst>
        </pc:cxnChg>
        <pc:cxnChg chg="mod">
          <ac:chgData name="Daniel Cole" userId="f20a75f9320a1647" providerId="LiveId" clId="{42D3E951-AF5C-4164-98AB-2347A3B6E1E6}" dt="2024-03-31T00:20:49.135" v="24310" actId="165"/>
          <ac:cxnSpMkLst>
            <pc:docMk/>
            <pc:sldMk cId="2043126180" sldId="2147472869"/>
            <ac:cxnSpMk id="89" creationId="{D334E7BE-0B6D-DCB9-D41B-21CA6F7F1D6A}"/>
          </ac:cxnSpMkLst>
        </pc:cxnChg>
        <pc:cxnChg chg="mod">
          <ac:chgData name="Daniel Cole" userId="f20a75f9320a1647" providerId="LiveId" clId="{42D3E951-AF5C-4164-98AB-2347A3B6E1E6}" dt="2024-03-31T00:20:49.135" v="24310" actId="165"/>
          <ac:cxnSpMkLst>
            <pc:docMk/>
            <pc:sldMk cId="2043126180" sldId="2147472869"/>
            <ac:cxnSpMk id="90" creationId="{EBAE79C7-70B0-12FD-2749-7D2F058E58EE}"/>
          </ac:cxnSpMkLst>
        </pc:cxnChg>
        <pc:cxnChg chg="mod">
          <ac:chgData name="Daniel Cole" userId="f20a75f9320a1647" providerId="LiveId" clId="{42D3E951-AF5C-4164-98AB-2347A3B6E1E6}" dt="2024-03-31T00:20:49.135" v="24310" actId="165"/>
          <ac:cxnSpMkLst>
            <pc:docMk/>
            <pc:sldMk cId="2043126180" sldId="2147472869"/>
            <ac:cxnSpMk id="91" creationId="{B31FE4E4-79E5-D2FF-31DC-38941A2FE8CE}"/>
          </ac:cxnSpMkLst>
        </pc:cxnChg>
        <pc:cxnChg chg="mod">
          <ac:chgData name="Daniel Cole" userId="f20a75f9320a1647" providerId="LiveId" clId="{42D3E951-AF5C-4164-98AB-2347A3B6E1E6}" dt="2024-03-31T00:20:49.135" v="24310" actId="165"/>
          <ac:cxnSpMkLst>
            <pc:docMk/>
            <pc:sldMk cId="2043126180" sldId="2147472869"/>
            <ac:cxnSpMk id="92" creationId="{AE919FA7-73D5-A712-8C94-095EB55709D3}"/>
          </ac:cxnSpMkLst>
        </pc:cxnChg>
        <pc:cxnChg chg="mod">
          <ac:chgData name="Daniel Cole" userId="f20a75f9320a1647" providerId="LiveId" clId="{42D3E951-AF5C-4164-98AB-2347A3B6E1E6}" dt="2024-03-31T00:20:49.135" v="24310" actId="165"/>
          <ac:cxnSpMkLst>
            <pc:docMk/>
            <pc:sldMk cId="2043126180" sldId="2147472869"/>
            <ac:cxnSpMk id="93" creationId="{0C5AFA92-9FE0-48E1-9710-3FAFC32D000A}"/>
          </ac:cxnSpMkLst>
        </pc:cxnChg>
        <pc:cxnChg chg="mod">
          <ac:chgData name="Daniel Cole" userId="f20a75f9320a1647" providerId="LiveId" clId="{42D3E951-AF5C-4164-98AB-2347A3B6E1E6}" dt="2024-03-31T00:20:49.135" v="24310" actId="165"/>
          <ac:cxnSpMkLst>
            <pc:docMk/>
            <pc:sldMk cId="2043126180" sldId="2147472869"/>
            <ac:cxnSpMk id="94" creationId="{827A05AE-EA9A-230E-0E53-2475DAD60A5C}"/>
          </ac:cxnSpMkLst>
        </pc:cxnChg>
        <pc:cxnChg chg="add del mod topLvl">
          <ac:chgData name="Daniel Cole" userId="f20a75f9320a1647" providerId="LiveId" clId="{42D3E951-AF5C-4164-98AB-2347A3B6E1E6}" dt="2024-03-31T00:22:33.873" v="24329" actId="478"/>
          <ac:cxnSpMkLst>
            <pc:docMk/>
            <pc:sldMk cId="2043126180" sldId="2147472869"/>
            <ac:cxnSpMk id="100" creationId="{9113273B-AC34-5B21-CF67-D7907BBAF14E}"/>
          </ac:cxnSpMkLst>
        </pc:cxnChg>
        <pc:cxnChg chg="add del mod topLvl">
          <ac:chgData name="Daniel Cole" userId="f20a75f9320a1647" providerId="LiveId" clId="{42D3E951-AF5C-4164-98AB-2347A3B6E1E6}" dt="2024-03-31T00:22:33.873" v="24329" actId="478"/>
          <ac:cxnSpMkLst>
            <pc:docMk/>
            <pc:sldMk cId="2043126180" sldId="2147472869"/>
            <ac:cxnSpMk id="101" creationId="{93BEA534-6A32-FC03-C35F-2B49F278A31C}"/>
          </ac:cxnSpMkLst>
        </pc:cxnChg>
        <pc:cxnChg chg="add del mod topLvl">
          <ac:chgData name="Daniel Cole" userId="f20a75f9320a1647" providerId="LiveId" clId="{42D3E951-AF5C-4164-98AB-2347A3B6E1E6}" dt="2024-03-31T00:22:33.873" v="24329" actId="478"/>
          <ac:cxnSpMkLst>
            <pc:docMk/>
            <pc:sldMk cId="2043126180" sldId="2147472869"/>
            <ac:cxnSpMk id="102" creationId="{680A7ED0-3C81-1E95-3A1C-DA3EFECA325A}"/>
          </ac:cxnSpMkLst>
        </pc:cxnChg>
        <pc:cxnChg chg="mod">
          <ac:chgData name="Daniel Cole" userId="f20a75f9320a1647" providerId="LiveId" clId="{42D3E951-AF5C-4164-98AB-2347A3B6E1E6}" dt="2024-03-31T01:51:06.355" v="26243"/>
          <ac:cxnSpMkLst>
            <pc:docMk/>
            <pc:sldMk cId="2043126180" sldId="2147472869"/>
            <ac:cxnSpMk id="120" creationId="{E536059E-6C57-E568-895D-461C0B1C356F}"/>
          </ac:cxnSpMkLst>
        </pc:cxnChg>
        <pc:cxnChg chg="mod">
          <ac:chgData name="Daniel Cole" userId="f20a75f9320a1647" providerId="LiveId" clId="{42D3E951-AF5C-4164-98AB-2347A3B6E1E6}" dt="2024-03-31T01:51:06.355" v="26243"/>
          <ac:cxnSpMkLst>
            <pc:docMk/>
            <pc:sldMk cId="2043126180" sldId="2147472869"/>
            <ac:cxnSpMk id="121" creationId="{F5DF7A80-1125-ABF3-52E5-12EBE3C788DE}"/>
          </ac:cxnSpMkLst>
        </pc:cxnChg>
        <pc:cxnChg chg="mod">
          <ac:chgData name="Daniel Cole" userId="f20a75f9320a1647" providerId="LiveId" clId="{42D3E951-AF5C-4164-98AB-2347A3B6E1E6}" dt="2024-03-31T01:51:06.355" v="26243"/>
          <ac:cxnSpMkLst>
            <pc:docMk/>
            <pc:sldMk cId="2043126180" sldId="2147472869"/>
            <ac:cxnSpMk id="122" creationId="{6519D524-A9A6-2675-3545-C6A29C14819A}"/>
          </ac:cxnSpMkLst>
        </pc:cxnChg>
        <pc:cxnChg chg="mod">
          <ac:chgData name="Daniel Cole" userId="f20a75f9320a1647" providerId="LiveId" clId="{42D3E951-AF5C-4164-98AB-2347A3B6E1E6}" dt="2024-03-31T01:51:06.355" v="26243"/>
          <ac:cxnSpMkLst>
            <pc:docMk/>
            <pc:sldMk cId="2043126180" sldId="2147472869"/>
            <ac:cxnSpMk id="123" creationId="{0EE00A86-AFDF-890C-3AA8-AC06D92EBEB6}"/>
          </ac:cxnSpMkLst>
        </pc:cxnChg>
        <pc:cxnChg chg="mod">
          <ac:chgData name="Daniel Cole" userId="f20a75f9320a1647" providerId="LiveId" clId="{42D3E951-AF5C-4164-98AB-2347A3B6E1E6}" dt="2024-03-31T01:51:06.355" v="26243"/>
          <ac:cxnSpMkLst>
            <pc:docMk/>
            <pc:sldMk cId="2043126180" sldId="2147472869"/>
            <ac:cxnSpMk id="124" creationId="{2270BB55-8433-8CE5-6B10-BA6BBD3345A5}"/>
          </ac:cxnSpMkLst>
        </pc:cxnChg>
        <pc:cxnChg chg="mod">
          <ac:chgData name="Daniel Cole" userId="f20a75f9320a1647" providerId="LiveId" clId="{42D3E951-AF5C-4164-98AB-2347A3B6E1E6}" dt="2024-03-31T01:51:06.355" v="26243"/>
          <ac:cxnSpMkLst>
            <pc:docMk/>
            <pc:sldMk cId="2043126180" sldId="2147472869"/>
            <ac:cxnSpMk id="125" creationId="{E8EB9F54-0D21-F6C6-BB9B-85D0038EF41C}"/>
          </ac:cxnSpMkLst>
        </pc:cxnChg>
        <pc:cxnChg chg="mod">
          <ac:chgData name="Daniel Cole" userId="f20a75f9320a1647" providerId="LiveId" clId="{42D3E951-AF5C-4164-98AB-2347A3B6E1E6}" dt="2024-03-31T01:51:06.355" v="26243"/>
          <ac:cxnSpMkLst>
            <pc:docMk/>
            <pc:sldMk cId="2043126180" sldId="2147472869"/>
            <ac:cxnSpMk id="126" creationId="{1ABD648E-C1A4-8864-0D10-B7076664C699}"/>
          </ac:cxnSpMkLst>
        </pc:cxnChg>
        <pc:cxnChg chg="mod">
          <ac:chgData name="Daniel Cole" userId="f20a75f9320a1647" providerId="LiveId" clId="{42D3E951-AF5C-4164-98AB-2347A3B6E1E6}" dt="2024-03-31T01:51:06.355" v="26243"/>
          <ac:cxnSpMkLst>
            <pc:docMk/>
            <pc:sldMk cId="2043126180" sldId="2147472869"/>
            <ac:cxnSpMk id="127" creationId="{BF27DF7B-FACD-C2EE-0450-3BD3F4D909DB}"/>
          </ac:cxnSpMkLst>
        </pc:cxnChg>
        <pc:cxnChg chg="mod">
          <ac:chgData name="Daniel Cole" userId="f20a75f9320a1647" providerId="LiveId" clId="{42D3E951-AF5C-4164-98AB-2347A3B6E1E6}" dt="2024-03-31T01:51:06.355" v="26243"/>
          <ac:cxnSpMkLst>
            <pc:docMk/>
            <pc:sldMk cId="2043126180" sldId="2147472869"/>
            <ac:cxnSpMk id="128" creationId="{A7D94348-9DDB-0E85-B7A6-B1B9EBEF19AE}"/>
          </ac:cxnSpMkLst>
        </pc:cxnChg>
        <pc:cxnChg chg="mod">
          <ac:chgData name="Daniel Cole" userId="f20a75f9320a1647" providerId="LiveId" clId="{42D3E951-AF5C-4164-98AB-2347A3B6E1E6}" dt="2024-03-31T01:51:06.355" v="26243"/>
          <ac:cxnSpMkLst>
            <pc:docMk/>
            <pc:sldMk cId="2043126180" sldId="2147472869"/>
            <ac:cxnSpMk id="129" creationId="{FBBEEF04-0376-5B5E-8E5B-34FB44116834}"/>
          </ac:cxnSpMkLst>
        </pc:cxnChg>
        <pc:cxnChg chg="mod">
          <ac:chgData name="Daniel Cole" userId="f20a75f9320a1647" providerId="LiveId" clId="{42D3E951-AF5C-4164-98AB-2347A3B6E1E6}" dt="2024-03-31T01:51:06.355" v="26243"/>
          <ac:cxnSpMkLst>
            <pc:docMk/>
            <pc:sldMk cId="2043126180" sldId="2147472869"/>
            <ac:cxnSpMk id="130" creationId="{01C023D4-D33E-A45C-C225-C320CB9447FF}"/>
          </ac:cxnSpMkLst>
        </pc:cxnChg>
        <pc:cxnChg chg="mod">
          <ac:chgData name="Daniel Cole" userId="f20a75f9320a1647" providerId="LiveId" clId="{42D3E951-AF5C-4164-98AB-2347A3B6E1E6}" dt="2024-03-31T01:51:06.355" v="26243"/>
          <ac:cxnSpMkLst>
            <pc:docMk/>
            <pc:sldMk cId="2043126180" sldId="2147472869"/>
            <ac:cxnSpMk id="131" creationId="{B67608F7-DCA9-F8A6-BC5B-271146062229}"/>
          </ac:cxnSpMkLst>
        </pc:cxnChg>
      </pc:sldChg>
      <pc:sldChg chg="addSp modSp add del mod">
        <pc:chgData name="Daniel Cole" userId="f20a75f9320a1647" providerId="LiveId" clId="{42D3E951-AF5C-4164-98AB-2347A3B6E1E6}" dt="2024-03-31T21:20:46.083" v="33731" actId="47"/>
        <pc:sldMkLst>
          <pc:docMk/>
          <pc:sldMk cId="2327074770" sldId="2147472870"/>
        </pc:sldMkLst>
        <pc:spChg chg="add mod">
          <ac:chgData name="Daniel Cole" userId="f20a75f9320a1647" providerId="LiveId" clId="{42D3E951-AF5C-4164-98AB-2347A3B6E1E6}" dt="2024-03-31T02:10:23.279" v="26639" actId="20577"/>
          <ac:spMkLst>
            <pc:docMk/>
            <pc:sldMk cId="2327074770" sldId="2147472870"/>
            <ac:spMk id="2" creationId="{3D22F430-9CEB-1E1C-ED0C-8988AB424833}"/>
          </ac:spMkLst>
        </pc:spChg>
        <pc:spChg chg="mod">
          <ac:chgData name="Daniel Cole" userId="f20a75f9320a1647" providerId="LiveId" clId="{42D3E951-AF5C-4164-98AB-2347A3B6E1E6}" dt="2024-03-31T02:03:01.271" v="26493" actId="14100"/>
          <ac:spMkLst>
            <pc:docMk/>
            <pc:sldMk cId="2327074770" sldId="2147472870"/>
            <ac:spMk id="7" creationId="{00000000-0000-0000-0000-000000000000}"/>
          </ac:spMkLst>
        </pc:spChg>
        <pc:spChg chg="mod">
          <ac:chgData name="Daniel Cole" userId="f20a75f9320a1647" providerId="LiveId" clId="{42D3E951-AF5C-4164-98AB-2347A3B6E1E6}" dt="2024-03-31T17:17:11.696" v="27579" actId="20577"/>
          <ac:spMkLst>
            <pc:docMk/>
            <pc:sldMk cId="2327074770" sldId="2147472870"/>
            <ac:spMk id="10" creationId="{00000000-0000-0000-0000-000000000000}"/>
          </ac:spMkLst>
        </pc:spChg>
        <pc:spChg chg="mod">
          <ac:chgData name="Daniel Cole" userId="f20a75f9320a1647" providerId="LiveId" clId="{42D3E951-AF5C-4164-98AB-2347A3B6E1E6}" dt="2024-03-31T17:18:32.470" v="27678" actId="20577"/>
          <ac:spMkLst>
            <pc:docMk/>
            <pc:sldMk cId="2327074770" sldId="2147472870"/>
            <ac:spMk id="15" creationId="{00000000-0000-0000-0000-000000000000}"/>
          </ac:spMkLst>
        </pc:spChg>
        <pc:spChg chg="mod">
          <ac:chgData name="Daniel Cole" userId="f20a75f9320a1647" providerId="LiveId" clId="{42D3E951-AF5C-4164-98AB-2347A3B6E1E6}" dt="2024-03-31T02:03:46.180" v="26498" actId="207"/>
          <ac:spMkLst>
            <pc:docMk/>
            <pc:sldMk cId="2327074770" sldId="2147472870"/>
            <ac:spMk id="22" creationId="{00000000-0000-0000-0000-000000000000}"/>
          </ac:spMkLst>
        </pc:spChg>
        <pc:spChg chg="mod">
          <ac:chgData name="Daniel Cole" userId="f20a75f9320a1647" providerId="LiveId" clId="{42D3E951-AF5C-4164-98AB-2347A3B6E1E6}" dt="2024-03-31T02:03:46.180" v="26498" actId="207"/>
          <ac:spMkLst>
            <pc:docMk/>
            <pc:sldMk cId="2327074770" sldId="2147472870"/>
            <ac:spMk id="23" creationId="{00000000-0000-0000-0000-000000000000}"/>
          </ac:spMkLst>
        </pc:spChg>
        <pc:spChg chg="mod">
          <ac:chgData name="Daniel Cole" userId="f20a75f9320a1647" providerId="LiveId" clId="{42D3E951-AF5C-4164-98AB-2347A3B6E1E6}" dt="2024-03-31T02:03:31.098" v="26496" actId="207"/>
          <ac:spMkLst>
            <pc:docMk/>
            <pc:sldMk cId="2327074770" sldId="2147472870"/>
            <ac:spMk id="28" creationId="{00000000-0000-0000-0000-000000000000}"/>
          </ac:spMkLst>
        </pc:spChg>
        <pc:spChg chg="mod">
          <ac:chgData name="Daniel Cole" userId="f20a75f9320a1647" providerId="LiveId" clId="{42D3E951-AF5C-4164-98AB-2347A3B6E1E6}" dt="2024-03-31T02:03:31.098" v="26496" actId="207"/>
          <ac:spMkLst>
            <pc:docMk/>
            <pc:sldMk cId="2327074770" sldId="2147472870"/>
            <ac:spMk id="29" creationId="{00000000-0000-0000-0000-000000000000}"/>
          </ac:spMkLst>
        </pc:spChg>
        <pc:spChg chg="mod">
          <ac:chgData name="Daniel Cole" userId="f20a75f9320a1647" providerId="LiveId" clId="{42D3E951-AF5C-4164-98AB-2347A3B6E1E6}" dt="2024-03-31T02:36:36.691" v="27278" actId="33524"/>
          <ac:spMkLst>
            <pc:docMk/>
            <pc:sldMk cId="2327074770" sldId="2147472870"/>
            <ac:spMk id="107" creationId="{C7B8CEDE-F5BE-6226-F7EE-ADC06331FCF7}"/>
          </ac:spMkLst>
        </pc:spChg>
        <pc:spChg chg="mod">
          <ac:chgData name="Daniel Cole" userId="f20a75f9320a1647" providerId="LiveId" clId="{42D3E951-AF5C-4164-98AB-2347A3B6E1E6}" dt="2024-03-31T17:21:34.672" v="27850" actId="20577"/>
          <ac:spMkLst>
            <pc:docMk/>
            <pc:sldMk cId="2327074770" sldId="2147472870"/>
            <ac:spMk id="110" creationId="{99406AE1-EE77-2938-A85A-D0600A6AB523}"/>
          </ac:spMkLst>
        </pc:spChg>
      </pc:sldChg>
      <pc:sldChg chg="modSp add del mod">
        <pc:chgData name="Daniel Cole" userId="f20a75f9320a1647" providerId="LiveId" clId="{42D3E951-AF5C-4164-98AB-2347A3B6E1E6}" dt="2024-03-31T19:43:27.873" v="30344" actId="47"/>
        <pc:sldMkLst>
          <pc:docMk/>
          <pc:sldMk cId="257997864" sldId="2147472871"/>
        </pc:sldMkLst>
        <pc:spChg chg="mod">
          <ac:chgData name="Daniel Cole" userId="f20a75f9320a1647" providerId="LiveId" clId="{42D3E951-AF5C-4164-98AB-2347A3B6E1E6}" dt="2024-03-31T19:41:17.877" v="30267" actId="14100"/>
          <ac:spMkLst>
            <pc:docMk/>
            <pc:sldMk cId="257997864" sldId="2147472871"/>
            <ac:spMk id="7" creationId="{00000000-0000-0000-0000-000000000000}"/>
          </ac:spMkLst>
        </pc:spChg>
        <pc:spChg chg="mod">
          <ac:chgData name="Daniel Cole" userId="f20a75f9320a1647" providerId="LiveId" clId="{42D3E951-AF5C-4164-98AB-2347A3B6E1E6}" dt="2024-03-31T19:41:35.110" v="30292" actId="1038"/>
          <ac:spMkLst>
            <pc:docMk/>
            <pc:sldMk cId="257997864" sldId="2147472871"/>
            <ac:spMk id="25" creationId="{00000000-0000-0000-0000-000000000000}"/>
          </ac:spMkLst>
        </pc:spChg>
      </pc:sldChg>
      <pc:sldChg chg="add del">
        <pc:chgData name="Daniel Cole" userId="f20a75f9320a1647" providerId="LiveId" clId="{42D3E951-AF5C-4164-98AB-2347A3B6E1E6}" dt="2024-03-31T19:40:51.552" v="30254" actId="47"/>
        <pc:sldMkLst>
          <pc:docMk/>
          <pc:sldMk cId="2579320504" sldId="2147472871"/>
        </pc:sldMkLst>
      </pc:sldChg>
      <pc:sldChg chg="addSp delSp modSp add mod">
        <pc:chgData name="Daniel Cole" userId="f20a75f9320a1647" providerId="LiveId" clId="{42D3E951-AF5C-4164-98AB-2347A3B6E1E6}" dt="2024-04-03T19:51:17.744" v="37795" actId="20577"/>
        <pc:sldMkLst>
          <pc:docMk/>
          <pc:sldMk cId="3370967707" sldId="2147472871"/>
        </pc:sldMkLst>
        <pc:spChg chg="add mod">
          <ac:chgData name="Daniel Cole" userId="f20a75f9320a1647" providerId="LiveId" clId="{42D3E951-AF5C-4164-98AB-2347A3B6E1E6}" dt="2024-04-03T19:51:17.744" v="37795" actId="20577"/>
          <ac:spMkLst>
            <pc:docMk/>
            <pc:sldMk cId="3370967707" sldId="2147472871"/>
            <ac:spMk id="2" creationId="{BE691D69-9452-D359-5B6C-241E438CBC2E}"/>
          </ac:spMkLst>
        </pc:spChg>
        <pc:spChg chg="add mod">
          <ac:chgData name="Daniel Cole" userId="f20a75f9320a1647" providerId="LiveId" clId="{42D3E951-AF5C-4164-98AB-2347A3B6E1E6}" dt="2024-03-31T21:11:32.610" v="33465" actId="20577"/>
          <ac:spMkLst>
            <pc:docMk/>
            <pc:sldMk cId="3370967707" sldId="2147472871"/>
            <ac:spMk id="3" creationId="{94F61C6F-7D33-98FF-DEA6-3CE905D06F7C}"/>
          </ac:spMkLst>
        </pc:spChg>
        <pc:spChg chg="add mod">
          <ac:chgData name="Daniel Cole" userId="f20a75f9320a1647" providerId="LiveId" clId="{42D3E951-AF5C-4164-98AB-2347A3B6E1E6}" dt="2024-03-31T19:50:34.651" v="30516"/>
          <ac:spMkLst>
            <pc:docMk/>
            <pc:sldMk cId="3370967707" sldId="2147472871"/>
            <ac:spMk id="4" creationId="{3B5E0096-163B-12AB-D0F5-356116D6C4CE}"/>
          </ac:spMkLst>
        </pc:spChg>
        <pc:spChg chg="del mod">
          <ac:chgData name="Daniel Cole" userId="f20a75f9320a1647" providerId="LiveId" clId="{42D3E951-AF5C-4164-98AB-2347A3B6E1E6}" dt="2024-03-31T21:16:58.631" v="33694" actId="478"/>
          <ac:spMkLst>
            <pc:docMk/>
            <pc:sldMk cId="3370967707" sldId="2147472871"/>
            <ac:spMk id="6" creationId="{5175E2A0-D907-502A-F59D-A95EB295F4FE}"/>
          </ac:spMkLst>
        </pc:spChg>
        <pc:spChg chg="mod">
          <ac:chgData name="Daniel Cole" userId="f20a75f9320a1647" providerId="LiveId" clId="{42D3E951-AF5C-4164-98AB-2347A3B6E1E6}" dt="2024-03-31T19:43:43.358" v="30357" actId="14100"/>
          <ac:spMkLst>
            <pc:docMk/>
            <pc:sldMk cId="3370967707" sldId="2147472871"/>
            <ac:spMk id="7" creationId="{00000000-0000-0000-0000-000000000000}"/>
          </ac:spMkLst>
        </pc:spChg>
        <pc:spChg chg="del mod">
          <ac:chgData name="Daniel Cole" userId="f20a75f9320a1647" providerId="LiveId" clId="{42D3E951-AF5C-4164-98AB-2347A3B6E1E6}" dt="2024-03-31T21:16:58.631" v="33694" actId="478"/>
          <ac:spMkLst>
            <pc:docMk/>
            <pc:sldMk cId="3370967707" sldId="2147472871"/>
            <ac:spMk id="8" creationId="{20745295-0E11-BBAA-5BF4-F3D06EFE3CE9}"/>
          </ac:spMkLst>
        </pc:spChg>
        <pc:spChg chg="mod">
          <ac:chgData name="Daniel Cole" userId="f20a75f9320a1647" providerId="LiveId" clId="{42D3E951-AF5C-4164-98AB-2347A3B6E1E6}" dt="2024-04-01T02:32:39.297" v="37611" actId="1035"/>
          <ac:spMkLst>
            <pc:docMk/>
            <pc:sldMk cId="3370967707" sldId="2147472871"/>
            <ac:spMk id="9" creationId="{B159BDFE-CA1B-0D45-8787-6A3C4D1D277A}"/>
          </ac:spMkLst>
        </pc:spChg>
        <pc:spChg chg="del">
          <ac:chgData name="Daniel Cole" userId="f20a75f9320a1647" providerId="LiveId" clId="{42D3E951-AF5C-4164-98AB-2347A3B6E1E6}" dt="2024-03-31T19:45:12.235" v="30364" actId="478"/>
          <ac:spMkLst>
            <pc:docMk/>
            <pc:sldMk cId="3370967707" sldId="2147472871"/>
            <ac:spMk id="10" creationId="{00000000-0000-0000-0000-000000000000}"/>
          </ac:spMkLst>
        </pc:spChg>
        <pc:spChg chg="add mod">
          <ac:chgData name="Daniel Cole" userId="f20a75f9320a1647" providerId="LiveId" clId="{42D3E951-AF5C-4164-98AB-2347A3B6E1E6}" dt="2024-03-31T19:50:34.651" v="30516"/>
          <ac:spMkLst>
            <pc:docMk/>
            <pc:sldMk cId="3370967707" sldId="2147472871"/>
            <ac:spMk id="11" creationId="{22A03B87-59CC-F614-C7AB-B667827D0A3D}"/>
          </ac:spMkLst>
        </pc:spChg>
        <pc:spChg chg="add mod">
          <ac:chgData name="Daniel Cole" userId="f20a75f9320a1647" providerId="LiveId" clId="{42D3E951-AF5C-4164-98AB-2347A3B6E1E6}" dt="2024-04-01T02:31:52.767" v="37579" actId="1036"/>
          <ac:spMkLst>
            <pc:docMk/>
            <pc:sldMk cId="3370967707" sldId="2147472871"/>
            <ac:spMk id="12" creationId="{E0213080-31E8-5960-2F8C-E4A324BE9C5A}"/>
          </ac:spMkLst>
        </pc:spChg>
        <pc:spChg chg="add mod">
          <ac:chgData name="Daniel Cole" userId="f20a75f9320a1647" providerId="LiveId" clId="{42D3E951-AF5C-4164-98AB-2347A3B6E1E6}" dt="2024-04-01T02:32:01.852" v="37591" actId="1035"/>
          <ac:spMkLst>
            <pc:docMk/>
            <pc:sldMk cId="3370967707" sldId="2147472871"/>
            <ac:spMk id="13" creationId="{0459DAB1-756F-72EF-82CD-C388B74800D9}"/>
          </ac:spMkLst>
        </pc:spChg>
        <pc:spChg chg="add mod">
          <ac:chgData name="Daniel Cole" userId="f20a75f9320a1647" providerId="LiveId" clId="{42D3E951-AF5C-4164-98AB-2347A3B6E1E6}" dt="2024-04-01T02:31:52.767" v="37579" actId="1036"/>
          <ac:spMkLst>
            <pc:docMk/>
            <pc:sldMk cId="3370967707" sldId="2147472871"/>
            <ac:spMk id="14" creationId="{D87628B7-3DED-27D9-21D9-565B0961677E}"/>
          </ac:spMkLst>
        </pc:spChg>
        <pc:spChg chg="del">
          <ac:chgData name="Daniel Cole" userId="f20a75f9320a1647" providerId="LiveId" clId="{42D3E951-AF5C-4164-98AB-2347A3B6E1E6}" dt="2024-03-31T19:45:12.235" v="30364" actId="478"/>
          <ac:spMkLst>
            <pc:docMk/>
            <pc:sldMk cId="3370967707" sldId="2147472871"/>
            <ac:spMk id="15" creationId="{00000000-0000-0000-0000-000000000000}"/>
          </ac:spMkLst>
        </pc:spChg>
        <pc:spChg chg="del">
          <ac:chgData name="Daniel Cole" userId="f20a75f9320a1647" providerId="LiveId" clId="{42D3E951-AF5C-4164-98AB-2347A3B6E1E6}" dt="2024-03-31T19:50:33.513" v="30515" actId="478"/>
          <ac:spMkLst>
            <pc:docMk/>
            <pc:sldMk cId="3370967707" sldId="2147472871"/>
            <ac:spMk id="16" creationId="{00000000-0000-0000-0000-000000000000}"/>
          </ac:spMkLst>
        </pc:spChg>
        <pc:spChg chg="del">
          <ac:chgData name="Daniel Cole" userId="f20a75f9320a1647" providerId="LiveId" clId="{42D3E951-AF5C-4164-98AB-2347A3B6E1E6}" dt="2024-03-31T19:50:33.513" v="30515" actId="478"/>
          <ac:spMkLst>
            <pc:docMk/>
            <pc:sldMk cId="3370967707" sldId="2147472871"/>
            <ac:spMk id="17" creationId="{00000000-0000-0000-0000-000000000000}"/>
          </ac:spMkLst>
        </pc:spChg>
        <pc:spChg chg="del mod">
          <ac:chgData name="Daniel Cole" userId="f20a75f9320a1647" providerId="LiveId" clId="{42D3E951-AF5C-4164-98AB-2347A3B6E1E6}" dt="2024-03-31T19:50:33.513" v="30515" actId="478"/>
          <ac:spMkLst>
            <pc:docMk/>
            <pc:sldMk cId="3370967707" sldId="2147472871"/>
            <ac:spMk id="18" creationId="{00000000-0000-0000-0000-000000000000}"/>
          </ac:spMkLst>
        </pc:spChg>
        <pc:spChg chg="del mod">
          <ac:chgData name="Daniel Cole" userId="f20a75f9320a1647" providerId="LiveId" clId="{42D3E951-AF5C-4164-98AB-2347A3B6E1E6}" dt="2024-03-31T19:59:02.574" v="30769"/>
          <ac:spMkLst>
            <pc:docMk/>
            <pc:sldMk cId="3370967707" sldId="2147472871"/>
            <ac:spMk id="19" creationId="{0B453403-14DE-607B-C2EF-9EE0BBE665E5}"/>
          </ac:spMkLst>
        </pc:spChg>
        <pc:spChg chg="del">
          <ac:chgData name="Daniel Cole" userId="f20a75f9320a1647" providerId="LiveId" clId="{42D3E951-AF5C-4164-98AB-2347A3B6E1E6}" dt="2024-03-31T19:50:33.513" v="30515" actId="478"/>
          <ac:spMkLst>
            <pc:docMk/>
            <pc:sldMk cId="3370967707" sldId="2147472871"/>
            <ac:spMk id="20" creationId="{00000000-0000-0000-0000-000000000000}"/>
          </ac:spMkLst>
        </pc:spChg>
        <pc:spChg chg="add mod">
          <ac:chgData name="Daniel Cole" userId="f20a75f9320a1647" providerId="LiveId" clId="{42D3E951-AF5C-4164-98AB-2347A3B6E1E6}" dt="2024-04-01T02:32:01.852" v="37591" actId="1035"/>
          <ac:spMkLst>
            <pc:docMk/>
            <pc:sldMk cId="3370967707" sldId="2147472871"/>
            <ac:spMk id="21" creationId="{4E4EA5E4-9E3A-ACBA-C46D-EFC581C5D5B1}"/>
          </ac:spMkLst>
        </pc:spChg>
        <pc:spChg chg="mod">
          <ac:chgData name="Daniel Cole" userId="f20a75f9320a1647" providerId="LiveId" clId="{42D3E951-AF5C-4164-98AB-2347A3B6E1E6}" dt="2024-03-31T21:07:13.291" v="33352" actId="1076"/>
          <ac:spMkLst>
            <pc:docMk/>
            <pc:sldMk cId="3370967707" sldId="2147472871"/>
            <ac:spMk id="22" creationId="{00000000-0000-0000-0000-000000000000}"/>
          </ac:spMkLst>
        </pc:spChg>
        <pc:spChg chg="mod">
          <ac:chgData name="Daniel Cole" userId="f20a75f9320a1647" providerId="LiveId" clId="{42D3E951-AF5C-4164-98AB-2347A3B6E1E6}" dt="2024-03-31T21:07:13.291" v="33352" actId="1076"/>
          <ac:spMkLst>
            <pc:docMk/>
            <pc:sldMk cId="3370967707" sldId="2147472871"/>
            <ac:spMk id="23" creationId="{00000000-0000-0000-0000-000000000000}"/>
          </ac:spMkLst>
        </pc:spChg>
        <pc:spChg chg="del">
          <ac:chgData name="Daniel Cole" userId="f20a75f9320a1647" providerId="LiveId" clId="{42D3E951-AF5C-4164-98AB-2347A3B6E1E6}" dt="2024-04-01T17:06:19.736" v="37737" actId="478"/>
          <ac:spMkLst>
            <pc:docMk/>
            <pc:sldMk cId="3370967707" sldId="2147472871"/>
            <ac:spMk id="24" creationId="{00000000-0000-0000-0000-000000000000}"/>
          </ac:spMkLst>
        </pc:spChg>
        <pc:spChg chg="del">
          <ac:chgData name="Daniel Cole" userId="f20a75f9320a1647" providerId="LiveId" clId="{42D3E951-AF5C-4164-98AB-2347A3B6E1E6}" dt="2024-04-01T17:06:23.556" v="37738" actId="478"/>
          <ac:spMkLst>
            <pc:docMk/>
            <pc:sldMk cId="3370967707" sldId="2147472871"/>
            <ac:spMk id="25" creationId="{00000000-0000-0000-0000-000000000000}"/>
          </ac:spMkLst>
        </pc:spChg>
        <pc:spChg chg="add mod">
          <ac:chgData name="Daniel Cole" userId="f20a75f9320a1647" providerId="LiveId" clId="{42D3E951-AF5C-4164-98AB-2347A3B6E1E6}" dt="2024-04-01T03:30:22.624" v="37657" actId="20577"/>
          <ac:spMkLst>
            <pc:docMk/>
            <pc:sldMk cId="3370967707" sldId="2147472871"/>
            <ac:spMk id="27" creationId="{D8C278C4-0943-635A-C50C-70405CF9C172}"/>
          </ac:spMkLst>
        </pc:spChg>
        <pc:spChg chg="mod">
          <ac:chgData name="Daniel Cole" userId="f20a75f9320a1647" providerId="LiveId" clId="{42D3E951-AF5C-4164-98AB-2347A3B6E1E6}" dt="2024-03-31T21:08:06.114" v="33353" actId="12788"/>
          <ac:spMkLst>
            <pc:docMk/>
            <pc:sldMk cId="3370967707" sldId="2147472871"/>
            <ac:spMk id="28" creationId="{00000000-0000-0000-0000-000000000000}"/>
          </ac:spMkLst>
        </pc:spChg>
        <pc:spChg chg="mod">
          <ac:chgData name="Daniel Cole" userId="f20a75f9320a1647" providerId="LiveId" clId="{42D3E951-AF5C-4164-98AB-2347A3B6E1E6}" dt="2024-03-31T21:08:06.114" v="33353" actId="12788"/>
          <ac:spMkLst>
            <pc:docMk/>
            <pc:sldMk cId="3370967707" sldId="2147472871"/>
            <ac:spMk id="29" creationId="{00000000-0000-0000-0000-000000000000}"/>
          </ac:spMkLst>
        </pc:spChg>
        <pc:spChg chg="mod">
          <ac:chgData name="Daniel Cole" userId="f20a75f9320a1647" providerId="LiveId" clId="{42D3E951-AF5C-4164-98AB-2347A3B6E1E6}" dt="2024-03-31T19:43:56.906" v="30359" actId="207"/>
          <ac:spMkLst>
            <pc:docMk/>
            <pc:sldMk cId="3370967707" sldId="2147472871"/>
            <ac:spMk id="31" creationId="{00000000-0000-0000-0000-000000000000}"/>
          </ac:spMkLst>
        </pc:spChg>
        <pc:spChg chg="mod">
          <ac:chgData name="Daniel Cole" userId="f20a75f9320a1647" providerId="LiveId" clId="{42D3E951-AF5C-4164-98AB-2347A3B6E1E6}" dt="2024-03-31T19:43:56.906" v="30359" actId="207"/>
          <ac:spMkLst>
            <pc:docMk/>
            <pc:sldMk cId="3370967707" sldId="2147472871"/>
            <ac:spMk id="32" creationId="{00000000-0000-0000-0000-000000000000}"/>
          </ac:spMkLst>
        </pc:spChg>
        <pc:spChg chg="mod">
          <ac:chgData name="Daniel Cole" userId="f20a75f9320a1647" providerId="LiveId" clId="{42D3E951-AF5C-4164-98AB-2347A3B6E1E6}" dt="2024-03-31T19:43:56.906" v="30359" actId="207"/>
          <ac:spMkLst>
            <pc:docMk/>
            <pc:sldMk cId="3370967707" sldId="2147472871"/>
            <ac:spMk id="33" creationId="{00000000-0000-0000-0000-000000000000}"/>
          </ac:spMkLst>
        </pc:spChg>
        <pc:spChg chg="add del mod">
          <ac:chgData name="Daniel Cole" userId="f20a75f9320a1647" providerId="LiveId" clId="{42D3E951-AF5C-4164-98AB-2347A3B6E1E6}" dt="2024-03-31T21:17:13.649" v="33696" actId="478"/>
          <ac:spMkLst>
            <pc:docMk/>
            <pc:sldMk cId="3370967707" sldId="2147472871"/>
            <ac:spMk id="35" creationId="{C9B87909-5477-498D-F797-AC3C1C53F615}"/>
          </ac:spMkLst>
        </pc:spChg>
        <pc:spChg chg="add del mod">
          <ac:chgData name="Daniel Cole" userId="f20a75f9320a1647" providerId="LiveId" clId="{42D3E951-AF5C-4164-98AB-2347A3B6E1E6}" dt="2024-03-31T21:17:13.649" v="33696" actId="478"/>
          <ac:spMkLst>
            <pc:docMk/>
            <pc:sldMk cId="3370967707" sldId="2147472871"/>
            <ac:spMk id="36" creationId="{61B0264E-1F79-583D-1078-02D73CEE684F}"/>
          </ac:spMkLst>
        </pc:spChg>
        <pc:spChg chg="add del mod">
          <ac:chgData name="Daniel Cole" userId="f20a75f9320a1647" providerId="LiveId" clId="{42D3E951-AF5C-4164-98AB-2347A3B6E1E6}" dt="2024-03-31T21:17:13.649" v="33696" actId="478"/>
          <ac:spMkLst>
            <pc:docMk/>
            <pc:sldMk cId="3370967707" sldId="2147472871"/>
            <ac:spMk id="37" creationId="{EF60ABB7-81D0-EB42-7CE0-3700AA936EF2}"/>
          </ac:spMkLst>
        </pc:spChg>
        <pc:spChg chg="add del mod">
          <ac:chgData name="Daniel Cole" userId="f20a75f9320a1647" providerId="LiveId" clId="{42D3E951-AF5C-4164-98AB-2347A3B6E1E6}" dt="2024-03-31T21:17:13.649" v="33696" actId="478"/>
          <ac:spMkLst>
            <pc:docMk/>
            <pc:sldMk cId="3370967707" sldId="2147472871"/>
            <ac:spMk id="38" creationId="{2B99BC1E-9FBA-92C1-0481-37C27C7731EB}"/>
          </ac:spMkLst>
        </pc:spChg>
        <pc:spChg chg="add mod">
          <ac:chgData name="Daniel Cole" userId="f20a75f9320a1647" providerId="LiveId" clId="{42D3E951-AF5C-4164-98AB-2347A3B6E1E6}" dt="2024-04-01T02:32:15.597" v="37598" actId="1035"/>
          <ac:spMkLst>
            <pc:docMk/>
            <pc:sldMk cId="3370967707" sldId="2147472871"/>
            <ac:spMk id="39" creationId="{5883F075-9A73-BE0C-5BB9-AF86794449A8}"/>
          </ac:spMkLst>
        </pc:spChg>
        <pc:spChg chg="add del mod">
          <ac:chgData name="Daniel Cole" userId="f20a75f9320a1647" providerId="LiveId" clId="{42D3E951-AF5C-4164-98AB-2347A3B6E1E6}" dt="2024-03-31T21:22:32.167" v="33746" actId="478"/>
          <ac:spMkLst>
            <pc:docMk/>
            <pc:sldMk cId="3370967707" sldId="2147472871"/>
            <ac:spMk id="40" creationId="{DEB17FAD-61A7-2AA6-16BE-E556C228615F}"/>
          </ac:spMkLst>
        </pc:spChg>
        <pc:spChg chg="add mod">
          <ac:chgData name="Daniel Cole" userId="f20a75f9320a1647" providerId="LiveId" clId="{42D3E951-AF5C-4164-98AB-2347A3B6E1E6}" dt="2024-04-01T02:32:15.597" v="37598" actId="1035"/>
          <ac:spMkLst>
            <pc:docMk/>
            <pc:sldMk cId="3370967707" sldId="2147472871"/>
            <ac:spMk id="41" creationId="{3C300CC4-F42B-6387-A9B8-A5B996D04BA0}"/>
          </ac:spMkLst>
        </pc:spChg>
        <pc:spChg chg="add mod">
          <ac:chgData name="Daniel Cole" userId="f20a75f9320a1647" providerId="LiveId" clId="{42D3E951-AF5C-4164-98AB-2347A3B6E1E6}" dt="2024-04-01T17:06:37.037" v="37741" actId="207"/>
          <ac:spMkLst>
            <pc:docMk/>
            <pc:sldMk cId="3370967707" sldId="2147472871"/>
            <ac:spMk id="42" creationId="{5B9050D9-FA71-FFCB-0232-B70C0EC00A40}"/>
          </ac:spMkLst>
        </pc:spChg>
        <pc:spChg chg="mod">
          <ac:chgData name="Daniel Cole" userId="f20a75f9320a1647" providerId="LiveId" clId="{42D3E951-AF5C-4164-98AB-2347A3B6E1E6}" dt="2024-03-31T21:06:13.908" v="33263" actId="1037"/>
          <ac:spMkLst>
            <pc:docMk/>
            <pc:sldMk cId="3370967707" sldId="2147472871"/>
            <ac:spMk id="57" creationId="{E36F608D-9140-2F36-CDA6-A50E0BA862D8}"/>
          </ac:spMkLst>
        </pc:spChg>
        <pc:spChg chg="del mod">
          <ac:chgData name="Daniel Cole" userId="f20a75f9320a1647" providerId="LiveId" clId="{42D3E951-AF5C-4164-98AB-2347A3B6E1E6}" dt="2024-03-31T19:50:33.513" v="30515" actId="478"/>
          <ac:spMkLst>
            <pc:docMk/>
            <pc:sldMk cId="3370967707" sldId="2147472871"/>
            <ac:spMk id="58" creationId="{1CA82F21-F243-1364-7ABB-01A1F2482FE0}"/>
          </ac:spMkLst>
        </pc:spChg>
        <pc:spChg chg="del">
          <ac:chgData name="Daniel Cole" userId="f20a75f9320a1647" providerId="LiveId" clId="{42D3E951-AF5C-4164-98AB-2347A3B6E1E6}" dt="2024-03-31T19:50:33.513" v="30515" actId="478"/>
          <ac:spMkLst>
            <pc:docMk/>
            <pc:sldMk cId="3370967707" sldId="2147472871"/>
            <ac:spMk id="59" creationId="{7B2C9430-342F-DA8B-B1CA-C59542A92DE8}"/>
          </ac:spMkLst>
        </pc:spChg>
        <pc:grpChg chg="mod">
          <ac:chgData name="Daniel Cole" userId="f20a75f9320a1647" providerId="LiveId" clId="{42D3E951-AF5C-4164-98AB-2347A3B6E1E6}" dt="2024-03-31T19:43:56.906" v="30359" actId="207"/>
          <ac:grpSpMkLst>
            <pc:docMk/>
            <pc:sldMk cId="3370967707" sldId="2147472871"/>
            <ac:grpSpMk id="30" creationId="{00000000-0000-0000-0000-000000000000}"/>
          </ac:grpSpMkLst>
        </pc:grpChg>
      </pc:sldChg>
      <pc:sldChg chg="addSp delSp modSp add mod ord">
        <pc:chgData name="Daniel Cole" userId="f20a75f9320a1647" providerId="LiveId" clId="{42D3E951-AF5C-4164-98AB-2347A3B6E1E6}" dt="2024-04-01T17:06:59.507" v="37745" actId="207"/>
        <pc:sldMkLst>
          <pc:docMk/>
          <pc:sldMk cId="686273604" sldId="2147472872"/>
        </pc:sldMkLst>
        <pc:spChg chg="del">
          <ac:chgData name="Daniel Cole" userId="f20a75f9320a1647" providerId="LiveId" clId="{42D3E951-AF5C-4164-98AB-2347A3B6E1E6}" dt="2024-03-31T20:11:31.028" v="31476" actId="478"/>
          <ac:spMkLst>
            <pc:docMk/>
            <pc:sldMk cId="686273604" sldId="2147472872"/>
            <ac:spMk id="2" creationId="{BE691D69-9452-D359-5B6C-241E438CBC2E}"/>
          </ac:spMkLst>
        </pc:spChg>
        <pc:spChg chg="del">
          <ac:chgData name="Daniel Cole" userId="f20a75f9320a1647" providerId="LiveId" clId="{42D3E951-AF5C-4164-98AB-2347A3B6E1E6}" dt="2024-03-31T20:11:27.028" v="31475" actId="478"/>
          <ac:spMkLst>
            <pc:docMk/>
            <pc:sldMk cId="686273604" sldId="2147472872"/>
            <ac:spMk id="3" creationId="{94F61C6F-7D33-98FF-DEA6-3CE905D06F7C}"/>
          </ac:spMkLst>
        </pc:spChg>
        <pc:spChg chg="mod">
          <ac:chgData name="Daniel Cole" userId="f20a75f9320a1647" providerId="LiveId" clId="{42D3E951-AF5C-4164-98AB-2347A3B6E1E6}" dt="2024-04-01T01:32:50.065" v="36453" actId="1036"/>
          <ac:spMkLst>
            <pc:docMk/>
            <pc:sldMk cId="686273604" sldId="2147472872"/>
            <ac:spMk id="6" creationId="{5175E2A0-D907-502A-F59D-A95EB295F4FE}"/>
          </ac:spMkLst>
        </pc:spChg>
        <pc:spChg chg="mod">
          <ac:chgData name="Daniel Cole" userId="f20a75f9320a1647" providerId="LiveId" clId="{42D3E951-AF5C-4164-98AB-2347A3B6E1E6}" dt="2024-03-31T20:11:19.215" v="31474" actId="14100"/>
          <ac:spMkLst>
            <pc:docMk/>
            <pc:sldMk cId="686273604" sldId="2147472872"/>
            <ac:spMk id="7" creationId="{00000000-0000-0000-0000-000000000000}"/>
          </ac:spMkLst>
        </pc:spChg>
        <pc:spChg chg="del mod">
          <ac:chgData name="Daniel Cole" userId="f20a75f9320a1647" providerId="LiveId" clId="{42D3E951-AF5C-4164-98AB-2347A3B6E1E6}" dt="2024-03-31T21:22:15.080" v="33744" actId="478"/>
          <ac:spMkLst>
            <pc:docMk/>
            <pc:sldMk cId="686273604" sldId="2147472872"/>
            <ac:spMk id="8" creationId="{20745295-0E11-BBAA-5BF4-F3D06EFE3CE9}"/>
          </ac:spMkLst>
        </pc:spChg>
        <pc:spChg chg="mod">
          <ac:chgData name="Daniel Cole" userId="f20a75f9320a1647" providerId="LiveId" clId="{42D3E951-AF5C-4164-98AB-2347A3B6E1E6}" dt="2024-04-01T01:43:50.426" v="36749" actId="1035"/>
          <ac:spMkLst>
            <pc:docMk/>
            <pc:sldMk cId="686273604" sldId="2147472872"/>
            <ac:spMk id="9" creationId="{B159BDFE-CA1B-0D45-8787-6A3C4D1D277A}"/>
          </ac:spMkLst>
        </pc:spChg>
        <pc:spChg chg="add mod">
          <ac:chgData name="Daniel Cole" userId="f20a75f9320a1647" providerId="LiveId" clId="{42D3E951-AF5C-4164-98AB-2347A3B6E1E6}" dt="2024-04-01T01:43:12.802" v="36740" actId="20577"/>
          <ac:spMkLst>
            <pc:docMk/>
            <pc:sldMk cId="686273604" sldId="2147472872"/>
            <ac:spMk id="10" creationId="{57729B5C-02F7-76EF-0BD3-7EBBEF81E5AF}"/>
          </ac:spMkLst>
        </pc:spChg>
        <pc:spChg chg="del mod">
          <ac:chgData name="Daniel Cole" userId="f20a75f9320a1647" providerId="LiveId" clId="{42D3E951-AF5C-4164-98AB-2347A3B6E1E6}" dt="2024-03-31T20:16:09.538" v="31624" actId="478"/>
          <ac:spMkLst>
            <pc:docMk/>
            <pc:sldMk cId="686273604" sldId="2147472872"/>
            <ac:spMk id="12" creationId="{E0213080-31E8-5960-2F8C-E4A324BE9C5A}"/>
          </ac:spMkLst>
        </pc:spChg>
        <pc:spChg chg="mod">
          <ac:chgData name="Daniel Cole" userId="f20a75f9320a1647" providerId="LiveId" clId="{42D3E951-AF5C-4164-98AB-2347A3B6E1E6}" dt="2024-04-01T01:53:29.126" v="37206" actId="1036"/>
          <ac:spMkLst>
            <pc:docMk/>
            <pc:sldMk cId="686273604" sldId="2147472872"/>
            <ac:spMk id="13" creationId="{0459DAB1-756F-72EF-82CD-C388B74800D9}"/>
          </ac:spMkLst>
        </pc:spChg>
        <pc:spChg chg="del mod">
          <ac:chgData name="Daniel Cole" userId="f20a75f9320a1647" providerId="LiveId" clId="{42D3E951-AF5C-4164-98AB-2347A3B6E1E6}" dt="2024-03-31T20:16:09.538" v="31624" actId="478"/>
          <ac:spMkLst>
            <pc:docMk/>
            <pc:sldMk cId="686273604" sldId="2147472872"/>
            <ac:spMk id="14" creationId="{D87628B7-3DED-27D9-21D9-565B0961677E}"/>
          </ac:spMkLst>
        </pc:spChg>
        <pc:spChg chg="add mod">
          <ac:chgData name="Daniel Cole" userId="f20a75f9320a1647" providerId="LiveId" clId="{42D3E951-AF5C-4164-98AB-2347A3B6E1E6}" dt="2024-04-01T01:43:26.246" v="36743" actId="1035"/>
          <ac:spMkLst>
            <pc:docMk/>
            <pc:sldMk cId="686273604" sldId="2147472872"/>
            <ac:spMk id="15" creationId="{F228B566-9CC1-AABA-FFC4-7CEC3DADCB9B}"/>
          </ac:spMkLst>
        </pc:spChg>
        <pc:spChg chg="add mod">
          <ac:chgData name="Daniel Cole" userId="f20a75f9320a1647" providerId="LiveId" clId="{42D3E951-AF5C-4164-98AB-2347A3B6E1E6}" dt="2024-04-01T01:43:26.246" v="36743" actId="1035"/>
          <ac:spMkLst>
            <pc:docMk/>
            <pc:sldMk cId="686273604" sldId="2147472872"/>
            <ac:spMk id="16" creationId="{641BF9F9-E795-ECB9-CCA8-C2C5F88C919B}"/>
          </ac:spMkLst>
        </pc:spChg>
        <pc:spChg chg="add mod">
          <ac:chgData name="Daniel Cole" userId="f20a75f9320a1647" providerId="LiveId" clId="{42D3E951-AF5C-4164-98AB-2347A3B6E1E6}" dt="2024-04-01T02:58:45.530" v="37625" actId="20577"/>
          <ac:spMkLst>
            <pc:docMk/>
            <pc:sldMk cId="686273604" sldId="2147472872"/>
            <ac:spMk id="17" creationId="{E97BE9CC-7961-87E7-12E3-063856090A77}"/>
          </ac:spMkLst>
        </pc:spChg>
        <pc:spChg chg="add mod">
          <ac:chgData name="Daniel Cole" userId="f20a75f9320a1647" providerId="LiveId" clId="{42D3E951-AF5C-4164-98AB-2347A3B6E1E6}" dt="2024-03-31T21:09:46.653" v="33363" actId="207"/>
          <ac:spMkLst>
            <pc:docMk/>
            <pc:sldMk cId="686273604" sldId="2147472872"/>
            <ac:spMk id="18" creationId="{C031058E-644E-2874-8B9B-FC303122E917}"/>
          </ac:spMkLst>
        </pc:spChg>
        <pc:spChg chg="add mod">
          <ac:chgData name="Daniel Cole" userId="f20a75f9320a1647" providerId="LiveId" clId="{42D3E951-AF5C-4164-98AB-2347A3B6E1E6}" dt="2024-03-31T21:09:46.653" v="33363" actId="207"/>
          <ac:spMkLst>
            <pc:docMk/>
            <pc:sldMk cId="686273604" sldId="2147472872"/>
            <ac:spMk id="19" creationId="{13FC6538-9A3F-3ADD-9EED-418FACCBB678}"/>
          </ac:spMkLst>
        </pc:spChg>
        <pc:spChg chg="add mod">
          <ac:chgData name="Daniel Cole" userId="f20a75f9320a1647" providerId="LiveId" clId="{42D3E951-AF5C-4164-98AB-2347A3B6E1E6}" dt="2024-03-31T21:09:28.663" v="33361" actId="207"/>
          <ac:spMkLst>
            <pc:docMk/>
            <pc:sldMk cId="686273604" sldId="2147472872"/>
            <ac:spMk id="20" creationId="{B667F4F1-4363-2983-E0DF-C42AC179A470}"/>
          </ac:spMkLst>
        </pc:spChg>
        <pc:spChg chg="mod">
          <ac:chgData name="Daniel Cole" userId="f20a75f9320a1647" providerId="LiveId" clId="{42D3E951-AF5C-4164-98AB-2347A3B6E1E6}" dt="2024-04-01T01:53:29.126" v="37206" actId="1036"/>
          <ac:spMkLst>
            <pc:docMk/>
            <pc:sldMk cId="686273604" sldId="2147472872"/>
            <ac:spMk id="21" creationId="{4E4EA5E4-9E3A-ACBA-C46D-EFC581C5D5B1}"/>
          </ac:spMkLst>
        </pc:spChg>
        <pc:spChg chg="del mod">
          <ac:chgData name="Daniel Cole" userId="f20a75f9320a1647" providerId="LiveId" clId="{42D3E951-AF5C-4164-98AB-2347A3B6E1E6}" dt="2024-03-31T21:09:18.187" v="33358" actId="478"/>
          <ac:spMkLst>
            <pc:docMk/>
            <pc:sldMk cId="686273604" sldId="2147472872"/>
            <ac:spMk id="22" creationId="{00000000-0000-0000-0000-000000000000}"/>
          </ac:spMkLst>
        </pc:spChg>
        <pc:spChg chg="del mod">
          <ac:chgData name="Daniel Cole" userId="f20a75f9320a1647" providerId="LiveId" clId="{42D3E951-AF5C-4164-98AB-2347A3B6E1E6}" dt="2024-03-31T21:09:18.187" v="33358" actId="478"/>
          <ac:spMkLst>
            <pc:docMk/>
            <pc:sldMk cId="686273604" sldId="2147472872"/>
            <ac:spMk id="23" creationId="{00000000-0000-0000-0000-000000000000}"/>
          </ac:spMkLst>
        </pc:spChg>
        <pc:spChg chg="del">
          <ac:chgData name="Daniel Cole" userId="f20a75f9320a1647" providerId="LiveId" clId="{42D3E951-AF5C-4164-98AB-2347A3B6E1E6}" dt="2024-04-01T17:06:53.509" v="37742" actId="478"/>
          <ac:spMkLst>
            <pc:docMk/>
            <pc:sldMk cId="686273604" sldId="2147472872"/>
            <ac:spMk id="24" creationId="{00000000-0000-0000-0000-000000000000}"/>
          </ac:spMkLst>
        </pc:spChg>
        <pc:spChg chg="del">
          <ac:chgData name="Daniel Cole" userId="f20a75f9320a1647" providerId="LiveId" clId="{42D3E951-AF5C-4164-98AB-2347A3B6E1E6}" dt="2024-04-01T17:06:53.509" v="37742" actId="478"/>
          <ac:spMkLst>
            <pc:docMk/>
            <pc:sldMk cId="686273604" sldId="2147472872"/>
            <ac:spMk id="25" creationId="{00000000-0000-0000-0000-000000000000}"/>
          </ac:spMkLst>
        </pc:spChg>
        <pc:spChg chg="del mod">
          <ac:chgData name="Daniel Cole" userId="f20a75f9320a1647" providerId="LiveId" clId="{42D3E951-AF5C-4164-98AB-2347A3B6E1E6}" dt="2024-04-01T01:43:57.922" v="36750" actId="478"/>
          <ac:spMkLst>
            <pc:docMk/>
            <pc:sldMk cId="686273604" sldId="2147472872"/>
            <ac:spMk id="27" creationId="{D8C278C4-0943-635A-C50C-70405CF9C172}"/>
          </ac:spMkLst>
        </pc:spChg>
        <pc:spChg chg="del mod">
          <ac:chgData name="Daniel Cole" userId="f20a75f9320a1647" providerId="LiveId" clId="{42D3E951-AF5C-4164-98AB-2347A3B6E1E6}" dt="2024-03-31T21:09:18.187" v="33358" actId="478"/>
          <ac:spMkLst>
            <pc:docMk/>
            <pc:sldMk cId="686273604" sldId="2147472872"/>
            <ac:spMk id="28" creationId="{00000000-0000-0000-0000-000000000000}"/>
          </ac:spMkLst>
        </pc:spChg>
        <pc:spChg chg="del mod">
          <ac:chgData name="Daniel Cole" userId="f20a75f9320a1647" providerId="LiveId" clId="{42D3E951-AF5C-4164-98AB-2347A3B6E1E6}" dt="2024-03-31T21:09:18.187" v="33358" actId="478"/>
          <ac:spMkLst>
            <pc:docMk/>
            <pc:sldMk cId="686273604" sldId="2147472872"/>
            <ac:spMk id="29" creationId="{00000000-0000-0000-0000-000000000000}"/>
          </ac:spMkLst>
        </pc:spChg>
        <pc:spChg chg="add mod">
          <ac:chgData name="Daniel Cole" userId="f20a75f9320a1647" providerId="LiveId" clId="{42D3E951-AF5C-4164-98AB-2347A3B6E1E6}" dt="2024-03-31T21:09:28.663" v="33361" actId="207"/>
          <ac:spMkLst>
            <pc:docMk/>
            <pc:sldMk cId="686273604" sldId="2147472872"/>
            <ac:spMk id="35" creationId="{361FB4A0-2D44-AAA4-6052-8263AE7E6CA1}"/>
          </ac:spMkLst>
        </pc:spChg>
        <pc:spChg chg="add mod">
          <ac:chgData name="Daniel Cole" userId="f20a75f9320a1647" providerId="LiveId" clId="{42D3E951-AF5C-4164-98AB-2347A3B6E1E6}" dt="2024-04-01T01:32:50.065" v="36453" actId="1036"/>
          <ac:spMkLst>
            <pc:docMk/>
            <pc:sldMk cId="686273604" sldId="2147472872"/>
            <ac:spMk id="36" creationId="{ED1FF303-BF7C-A4F7-26AB-86FD396FB4D6}"/>
          </ac:spMkLst>
        </pc:spChg>
        <pc:spChg chg="add mod">
          <ac:chgData name="Daniel Cole" userId="f20a75f9320a1647" providerId="LiveId" clId="{42D3E951-AF5C-4164-98AB-2347A3B6E1E6}" dt="2024-04-01T01:53:58.349" v="37216" actId="20577"/>
          <ac:spMkLst>
            <pc:docMk/>
            <pc:sldMk cId="686273604" sldId="2147472872"/>
            <ac:spMk id="37" creationId="{337B4877-9244-F186-0BE9-F4993E923B3A}"/>
          </ac:spMkLst>
        </pc:spChg>
        <pc:spChg chg="add mod">
          <ac:chgData name="Daniel Cole" userId="f20a75f9320a1647" providerId="LiveId" clId="{42D3E951-AF5C-4164-98AB-2347A3B6E1E6}" dt="2024-04-01T17:06:59.507" v="37745" actId="207"/>
          <ac:spMkLst>
            <pc:docMk/>
            <pc:sldMk cId="686273604" sldId="2147472872"/>
            <ac:spMk id="38" creationId="{45ED0549-5004-8155-9DF9-8AB611333697}"/>
          </ac:spMkLst>
        </pc:spChg>
        <pc:spChg chg="mod">
          <ac:chgData name="Daniel Cole" userId="f20a75f9320a1647" providerId="LiveId" clId="{42D3E951-AF5C-4164-98AB-2347A3B6E1E6}" dt="2024-03-31T21:09:28.663" v="33361" actId="207"/>
          <ac:spMkLst>
            <pc:docMk/>
            <pc:sldMk cId="686273604" sldId="2147472872"/>
            <ac:spMk id="57" creationId="{E36F608D-9140-2F36-CDA6-A50E0BA862D8}"/>
          </ac:spMkLst>
        </pc:spChg>
      </pc:sldChg>
      <pc:sldChg chg="modSp add del mod">
        <pc:chgData name="Daniel Cole" userId="f20a75f9320a1647" providerId="LiveId" clId="{42D3E951-AF5C-4164-98AB-2347A3B6E1E6}" dt="2024-04-01T00:51:03.918" v="35103" actId="47"/>
        <pc:sldMkLst>
          <pc:docMk/>
          <pc:sldMk cId="3625441692" sldId="2147472873"/>
        </pc:sldMkLst>
        <pc:spChg chg="mod">
          <ac:chgData name="Daniel Cole" userId="f20a75f9320a1647" providerId="LiveId" clId="{42D3E951-AF5C-4164-98AB-2347A3B6E1E6}" dt="2024-03-31T21:20:54.997" v="33739" actId="20577"/>
          <ac:spMkLst>
            <pc:docMk/>
            <pc:sldMk cId="3625441692" sldId="2147472873"/>
            <ac:spMk id="7" creationId="{00000000-0000-0000-0000-000000000000}"/>
          </ac:spMkLst>
        </pc:spChg>
        <pc:spChg chg="mod">
          <ac:chgData name="Daniel Cole" userId="f20a75f9320a1647" providerId="LiveId" clId="{42D3E951-AF5C-4164-98AB-2347A3B6E1E6}" dt="2024-03-31T22:46:11.288" v="35094" actId="207"/>
          <ac:spMkLst>
            <pc:docMk/>
            <pc:sldMk cId="3625441692" sldId="2147472873"/>
            <ac:spMk id="24" creationId="{00000000-0000-0000-0000-000000000000}"/>
          </ac:spMkLst>
        </pc:spChg>
        <pc:spChg chg="mod">
          <ac:chgData name="Daniel Cole" userId="f20a75f9320a1647" providerId="LiveId" clId="{42D3E951-AF5C-4164-98AB-2347A3B6E1E6}" dt="2024-03-31T22:46:11.288" v="35094" actId="207"/>
          <ac:spMkLst>
            <pc:docMk/>
            <pc:sldMk cId="3625441692" sldId="2147472873"/>
            <ac:spMk id="25" creationId="{00000000-0000-0000-0000-000000000000}"/>
          </ac:spMkLst>
        </pc:spChg>
        <pc:spChg chg="mod">
          <ac:chgData name="Daniel Cole" userId="f20a75f9320a1647" providerId="LiveId" clId="{42D3E951-AF5C-4164-98AB-2347A3B6E1E6}" dt="2024-03-31T22:46:23.277" v="35096" actId="207"/>
          <ac:spMkLst>
            <pc:docMk/>
            <pc:sldMk cId="3625441692" sldId="2147472873"/>
            <ac:spMk id="28" creationId="{00000000-0000-0000-0000-000000000000}"/>
          </ac:spMkLst>
        </pc:spChg>
        <pc:spChg chg="mod">
          <ac:chgData name="Daniel Cole" userId="f20a75f9320a1647" providerId="LiveId" clId="{42D3E951-AF5C-4164-98AB-2347A3B6E1E6}" dt="2024-03-31T22:46:23.277" v="35096" actId="207"/>
          <ac:spMkLst>
            <pc:docMk/>
            <pc:sldMk cId="3625441692" sldId="2147472873"/>
            <ac:spMk id="29" creationId="{00000000-0000-0000-0000-000000000000}"/>
          </ac:spMkLst>
        </pc:spChg>
      </pc:sldChg>
      <pc:sldChg chg="delSp modSp add del mod ord">
        <pc:chgData name="Daniel Cole" userId="f20a75f9320a1647" providerId="LiveId" clId="{42D3E951-AF5C-4164-98AB-2347A3B6E1E6}" dt="2024-04-01T19:43:04.330" v="37765" actId="47"/>
        <pc:sldMkLst>
          <pc:docMk/>
          <pc:sldMk cId="1289872896" sldId="2147472874"/>
        </pc:sldMkLst>
        <pc:spChg chg="del mod">
          <ac:chgData name="Daniel Cole" userId="f20a75f9320a1647" providerId="LiveId" clId="{42D3E951-AF5C-4164-98AB-2347A3B6E1E6}" dt="2024-04-01T19:32:37.709" v="37762" actId="478"/>
          <ac:spMkLst>
            <pc:docMk/>
            <pc:sldMk cId="1289872896" sldId="2147472874"/>
            <ac:spMk id="2" creationId="{BE691D69-9452-D359-5B6C-241E438CBC2E}"/>
          </ac:spMkLst>
        </pc:spChg>
        <pc:spChg chg="mod">
          <ac:chgData name="Daniel Cole" userId="f20a75f9320a1647" providerId="LiveId" clId="{42D3E951-AF5C-4164-98AB-2347A3B6E1E6}" dt="2024-04-01T02:18:54.832" v="37517" actId="20577"/>
          <ac:spMkLst>
            <pc:docMk/>
            <pc:sldMk cId="1289872896" sldId="2147472874"/>
            <ac:spMk id="3" creationId="{94F61C6F-7D33-98FF-DEA6-3CE905D06F7C}"/>
          </ac:spMkLst>
        </pc:spChg>
        <pc:spChg chg="mod">
          <ac:chgData name="Daniel Cole" userId="f20a75f9320a1647" providerId="LiveId" clId="{42D3E951-AF5C-4164-98AB-2347A3B6E1E6}" dt="2024-04-01T17:07:53.138" v="37760" actId="20577"/>
          <ac:spMkLst>
            <pc:docMk/>
            <pc:sldMk cId="1289872896" sldId="2147472874"/>
            <ac:spMk id="7" creationId="{00000000-0000-0000-0000-000000000000}"/>
          </ac:spMkLst>
        </pc:spChg>
        <pc:spChg chg="del mod">
          <ac:chgData name="Daniel Cole" userId="f20a75f9320a1647" providerId="LiveId" clId="{42D3E951-AF5C-4164-98AB-2347A3B6E1E6}" dt="2024-04-01T19:32:43.483" v="37763" actId="478"/>
          <ac:spMkLst>
            <pc:docMk/>
            <pc:sldMk cId="1289872896" sldId="2147472874"/>
            <ac:spMk id="9" creationId="{B159BDFE-CA1B-0D45-8787-6A3C4D1D277A}"/>
          </ac:spMkLst>
        </pc:spChg>
        <pc:spChg chg="mod">
          <ac:chgData name="Daniel Cole" userId="f20a75f9320a1647" providerId="LiveId" clId="{42D3E951-AF5C-4164-98AB-2347A3B6E1E6}" dt="2024-04-01T17:04:35.745" v="37736" actId="20577"/>
          <ac:spMkLst>
            <pc:docMk/>
            <pc:sldMk cId="1289872896" sldId="2147472874"/>
            <ac:spMk id="24" creationId="{00000000-0000-0000-0000-000000000000}"/>
          </ac:spMkLst>
        </pc:spChg>
        <pc:spChg chg="del mod">
          <ac:chgData name="Daniel Cole" userId="f20a75f9320a1647" providerId="LiveId" clId="{42D3E951-AF5C-4164-98AB-2347A3B6E1E6}" dt="2024-04-01T17:00:27.624" v="37690" actId="478"/>
          <ac:spMkLst>
            <pc:docMk/>
            <pc:sldMk cId="1289872896" sldId="2147472874"/>
            <ac:spMk id="25" creationId="{00000000-0000-0000-0000-000000000000}"/>
          </ac:spMkLst>
        </pc:spChg>
        <pc:spChg chg="del mod">
          <ac:chgData name="Daniel Cole" userId="f20a75f9320a1647" providerId="LiveId" clId="{42D3E951-AF5C-4164-98AB-2347A3B6E1E6}" dt="2024-04-01T19:32:48.144" v="37764" actId="478"/>
          <ac:spMkLst>
            <pc:docMk/>
            <pc:sldMk cId="1289872896" sldId="2147472874"/>
            <ac:spMk id="27" creationId="{D8C278C4-0943-635A-C50C-70405CF9C172}"/>
          </ac:spMkLst>
        </pc:spChg>
      </pc:sldChg>
    </pc:docChg>
  </pc:docChgLst>
  <pc:docChgLst>
    <pc:chgData name="Daniel Cole" userId="f20a75f9320a1647" providerId="LiveId" clId="{373200CA-EA42-426C-A8E4-F81830494491}"/>
    <pc:docChg chg="undo custSel addSld delSld modSld sldOrd">
      <pc:chgData name="Daniel Cole" userId="f20a75f9320a1647" providerId="LiveId" clId="{373200CA-EA42-426C-A8E4-F81830494491}" dt="2024-10-13T13:41:10.592" v="7258" actId="2696"/>
      <pc:docMkLst>
        <pc:docMk/>
      </pc:docMkLst>
      <pc:sldChg chg="addSp delSp modSp mod">
        <pc:chgData name="Daniel Cole" userId="f20a75f9320a1647" providerId="LiveId" clId="{373200CA-EA42-426C-A8E4-F81830494491}" dt="2024-10-08T00:43:08.901" v="1" actId="478"/>
        <pc:sldMkLst>
          <pc:docMk/>
          <pc:sldMk cId="0" sldId="257"/>
        </pc:sldMkLst>
        <pc:spChg chg="del">
          <ac:chgData name="Daniel Cole" userId="f20a75f9320a1647" providerId="LiveId" clId="{373200CA-EA42-426C-A8E4-F81830494491}" dt="2024-10-08T00:43:04.205" v="0" actId="478"/>
          <ac:spMkLst>
            <pc:docMk/>
            <pc:sldMk cId="0" sldId="257"/>
            <ac:spMk id="3" creationId="{00000000-0000-0000-0000-000000000000}"/>
          </ac:spMkLst>
        </pc:spChg>
        <pc:spChg chg="add del mod">
          <ac:chgData name="Daniel Cole" userId="f20a75f9320a1647" providerId="LiveId" clId="{373200CA-EA42-426C-A8E4-F81830494491}" dt="2024-10-08T00:43:08.901" v="1" actId="478"/>
          <ac:spMkLst>
            <pc:docMk/>
            <pc:sldMk cId="0" sldId="257"/>
            <ac:spMk id="5" creationId="{0BF66826-9281-1B61-3BD3-A4BE09F86B4D}"/>
          </ac:spMkLst>
        </pc:spChg>
      </pc:sldChg>
      <pc:sldChg chg="modSp mod">
        <pc:chgData name="Daniel Cole" userId="f20a75f9320a1647" providerId="LiveId" clId="{373200CA-EA42-426C-A8E4-F81830494491}" dt="2024-10-09T20:38:20.149" v="18" actId="6549"/>
        <pc:sldMkLst>
          <pc:docMk/>
          <pc:sldMk cId="2328948590" sldId="262"/>
        </pc:sldMkLst>
        <pc:spChg chg="mod">
          <ac:chgData name="Daniel Cole" userId="f20a75f9320a1647" providerId="LiveId" clId="{373200CA-EA42-426C-A8E4-F81830494491}" dt="2024-10-09T20:38:20.149" v="18" actId="6549"/>
          <ac:spMkLst>
            <pc:docMk/>
            <pc:sldMk cId="2328948590" sldId="262"/>
            <ac:spMk id="10" creationId="{E125256B-F880-1F7D-8EF3-8C70FF297A44}"/>
          </ac:spMkLst>
        </pc:spChg>
        <pc:spChg chg="mod">
          <ac:chgData name="Daniel Cole" userId="f20a75f9320a1647" providerId="LiveId" clId="{373200CA-EA42-426C-A8E4-F81830494491}" dt="2024-10-09T20:36:58.669" v="4" actId="20577"/>
          <ac:spMkLst>
            <pc:docMk/>
            <pc:sldMk cId="2328948590" sldId="262"/>
            <ac:spMk id="43" creationId="{21D5168C-8F9D-902E-A2D9-89819561EF0A}"/>
          </ac:spMkLst>
        </pc:spChg>
        <pc:picChg chg="mod">
          <ac:chgData name="Daniel Cole" userId="f20a75f9320a1647" providerId="LiveId" clId="{373200CA-EA42-426C-A8E4-F81830494491}" dt="2024-10-08T00:44:55.282" v="3" actId="1076"/>
          <ac:picMkLst>
            <pc:docMk/>
            <pc:sldMk cId="2328948590" sldId="262"/>
            <ac:picMk id="137" creationId="{FC759ED0-F92D-9AB3-DDD9-88A1922ED3AA}"/>
          </ac:picMkLst>
        </pc:picChg>
      </pc:sldChg>
      <pc:sldChg chg="addSp delSp modSp mod">
        <pc:chgData name="Daniel Cole" userId="f20a75f9320a1647" providerId="LiveId" clId="{373200CA-EA42-426C-A8E4-F81830494491}" dt="2024-10-09T22:58:54.267" v="862" actId="478"/>
        <pc:sldMkLst>
          <pc:docMk/>
          <pc:sldMk cId="3575838260" sldId="264"/>
        </pc:sldMkLst>
        <pc:spChg chg="add del mod">
          <ac:chgData name="Daniel Cole" userId="f20a75f9320a1647" providerId="LiveId" clId="{373200CA-EA42-426C-A8E4-F81830494491}" dt="2024-10-09T22:58:54.267" v="862" actId="478"/>
          <ac:spMkLst>
            <pc:docMk/>
            <pc:sldMk cId="3575838260" sldId="264"/>
            <ac:spMk id="64" creationId="{9F79C47B-B054-CAAF-907C-D0D7F9F18F4E}"/>
          </ac:spMkLst>
        </pc:spChg>
      </pc:sldChg>
      <pc:sldChg chg="modSp mod">
        <pc:chgData name="Daniel Cole" userId="f20a75f9320a1647" providerId="LiveId" clId="{373200CA-EA42-426C-A8E4-F81830494491}" dt="2024-10-12T16:25:37.981" v="7073" actId="20577"/>
        <pc:sldMkLst>
          <pc:docMk/>
          <pc:sldMk cId="2599160821" sldId="2147472864"/>
        </pc:sldMkLst>
        <pc:spChg chg="mod">
          <ac:chgData name="Daniel Cole" userId="f20a75f9320a1647" providerId="LiveId" clId="{373200CA-EA42-426C-A8E4-F81830494491}" dt="2024-10-12T16:25:37.981" v="7073" actId="20577"/>
          <ac:spMkLst>
            <pc:docMk/>
            <pc:sldMk cId="2599160821" sldId="2147472864"/>
            <ac:spMk id="13" creationId="{A9C8693A-CF7F-A74C-C78C-2D7F78528359}"/>
          </ac:spMkLst>
        </pc:spChg>
      </pc:sldChg>
      <pc:sldChg chg="addSp delSp modSp mod">
        <pc:chgData name="Daniel Cole" userId="f20a75f9320a1647" providerId="LiveId" clId="{373200CA-EA42-426C-A8E4-F81830494491}" dt="2024-10-12T16:52:48.927" v="7257" actId="14100"/>
        <pc:sldMkLst>
          <pc:docMk/>
          <pc:sldMk cId="4114144062" sldId="2147472867"/>
        </pc:sldMkLst>
        <pc:spChg chg="mod topLvl">
          <ac:chgData name="Daniel Cole" userId="f20a75f9320a1647" providerId="LiveId" clId="{373200CA-EA42-426C-A8E4-F81830494491}" dt="2024-10-12T16:24:25.358" v="7071" actId="12788"/>
          <ac:spMkLst>
            <pc:docMk/>
            <pc:sldMk cId="4114144062" sldId="2147472867"/>
            <ac:spMk id="5" creationId="{C0468C2B-2B0D-489F-945D-E78C22E53FD2}"/>
          </ac:spMkLst>
        </pc:spChg>
        <pc:spChg chg="add mod">
          <ac:chgData name="Daniel Cole" userId="f20a75f9320a1647" providerId="LiveId" clId="{373200CA-EA42-426C-A8E4-F81830494491}" dt="2024-10-12T16:24:25.358" v="7071" actId="12788"/>
          <ac:spMkLst>
            <pc:docMk/>
            <pc:sldMk cId="4114144062" sldId="2147472867"/>
            <ac:spMk id="6" creationId="{EDF7812D-8855-70A7-C59D-0A9016D9D8C8}"/>
          </ac:spMkLst>
        </pc:spChg>
        <pc:spChg chg="add mod">
          <ac:chgData name="Daniel Cole" userId="f20a75f9320a1647" providerId="LiveId" clId="{373200CA-EA42-426C-A8E4-F81830494491}" dt="2024-10-12T16:24:25.358" v="7071" actId="12788"/>
          <ac:spMkLst>
            <pc:docMk/>
            <pc:sldMk cId="4114144062" sldId="2147472867"/>
            <ac:spMk id="7" creationId="{2EB08F37-618F-A26D-19BD-E0F292F98D33}"/>
          </ac:spMkLst>
        </pc:spChg>
        <pc:spChg chg="add mod">
          <ac:chgData name="Daniel Cole" userId="f20a75f9320a1647" providerId="LiveId" clId="{373200CA-EA42-426C-A8E4-F81830494491}" dt="2024-10-12T16:52:48.927" v="7257" actId="14100"/>
          <ac:spMkLst>
            <pc:docMk/>
            <pc:sldMk cId="4114144062" sldId="2147472867"/>
            <ac:spMk id="8" creationId="{B4FD0FAD-7628-910B-C4C8-67CD395285FB}"/>
          </ac:spMkLst>
        </pc:spChg>
        <pc:spChg chg="add mod">
          <ac:chgData name="Daniel Cole" userId="f20a75f9320a1647" providerId="LiveId" clId="{373200CA-EA42-426C-A8E4-F81830494491}" dt="2024-10-12T16:37:33.194" v="7098" actId="1035"/>
          <ac:spMkLst>
            <pc:docMk/>
            <pc:sldMk cId="4114144062" sldId="2147472867"/>
            <ac:spMk id="9" creationId="{871E00DA-A243-027B-5C90-BFA87C226BA9}"/>
          </ac:spMkLst>
        </pc:spChg>
        <pc:spChg chg="mod">
          <ac:chgData name="Daniel Cole" userId="f20a75f9320a1647" providerId="LiveId" clId="{373200CA-EA42-426C-A8E4-F81830494491}" dt="2024-10-12T16:24:25.358" v="7071" actId="12788"/>
          <ac:spMkLst>
            <pc:docMk/>
            <pc:sldMk cId="4114144062" sldId="2147472867"/>
            <ac:spMk id="11" creationId="{C2057850-1618-D882-7F94-5F1EB0E3A049}"/>
          </ac:spMkLst>
        </pc:spChg>
        <pc:spChg chg="mod">
          <ac:chgData name="Daniel Cole" userId="f20a75f9320a1647" providerId="LiveId" clId="{373200CA-EA42-426C-A8E4-F81830494491}" dt="2024-10-12T16:24:25.358" v="7071" actId="12788"/>
          <ac:spMkLst>
            <pc:docMk/>
            <pc:sldMk cId="4114144062" sldId="2147472867"/>
            <ac:spMk id="17" creationId="{A32291C7-5ED5-75E2-018B-D7072DBD7DF7}"/>
          </ac:spMkLst>
        </pc:spChg>
        <pc:spChg chg="mod">
          <ac:chgData name="Daniel Cole" userId="f20a75f9320a1647" providerId="LiveId" clId="{373200CA-EA42-426C-A8E4-F81830494491}" dt="2024-10-12T16:24:25.358" v="7071" actId="12788"/>
          <ac:spMkLst>
            <pc:docMk/>
            <pc:sldMk cId="4114144062" sldId="2147472867"/>
            <ac:spMk id="18" creationId="{FB8D6AF2-B608-C346-C3C7-5F4BE9BA1514}"/>
          </ac:spMkLst>
        </pc:spChg>
        <pc:spChg chg="mod">
          <ac:chgData name="Daniel Cole" userId="f20a75f9320a1647" providerId="LiveId" clId="{373200CA-EA42-426C-A8E4-F81830494491}" dt="2024-10-12T16:24:25.358" v="7071" actId="12788"/>
          <ac:spMkLst>
            <pc:docMk/>
            <pc:sldMk cId="4114144062" sldId="2147472867"/>
            <ac:spMk id="19" creationId="{51121C87-A51A-D1E5-2331-81F55141D79C}"/>
          </ac:spMkLst>
        </pc:spChg>
        <pc:spChg chg="mod">
          <ac:chgData name="Daniel Cole" userId="f20a75f9320a1647" providerId="LiveId" clId="{373200CA-EA42-426C-A8E4-F81830494491}" dt="2024-10-12T16:24:25.358" v="7071" actId="12788"/>
          <ac:spMkLst>
            <pc:docMk/>
            <pc:sldMk cId="4114144062" sldId="2147472867"/>
            <ac:spMk id="21" creationId="{2E301770-C394-CADB-8269-EF9A401338DE}"/>
          </ac:spMkLst>
        </pc:spChg>
        <pc:spChg chg="mod">
          <ac:chgData name="Daniel Cole" userId="f20a75f9320a1647" providerId="LiveId" clId="{373200CA-EA42-426C-A8E4-F81830494491}" dt="2024-10-12T16:24:25.358" v="7071" actId="12788"/>
          <ac:spMkLst>
            <pc:docMk/>
            <pc:sldMk cId="4114144062" sldId="2147472867"/>
            <ac:spMk id="22" creationId="{7851C8CB-FA09-FCD3-635B-61E3EA2321A4}"/>
          </ac:spMkLst>
        </pc:spChg>
        <pc:spChg chg="add del mod">
          <ac:chgData name="Daniel Cole" userId="f20a75f9320a1647" providerId="LiveId" clId="{373200CA-EA42-426C-A8E4-F81830494491}" dt="2024-10-12T16:06:39.290" v="6803"/>
          <ac:spMkLst>
            <pc:docMk/>
            <pc:sldMk cId="4114144062" sldId="2147472867"/>
            <ac:spMk id="26" creationId="{41BD2DA2-97FD-2EB8-5C7F-A4923180F5F3}"/>
          </ac:spMkLst>
        </pc:spChg>
        <pc:spChg chg="add mod">
          <ac:chgData name="Daniel Cole" userId="f20a75f9320a1647" providerId="LiveId" clId="{373200CA-EA42-426C-A8E4-F81830494491}" dt="2024-10-12T16:24:25.358" v="7071" actId="12788"/>
          <ac:spMkLst>
            <pc:docMk/>
            <pc:sldMk cId="4114144062" sldId="2147472867"/>
            <ac:spMk id="27" creationId="{FEBD4642-98F4-8C68-A00A-BB43DDC71297}"/>
          </ac:spMkLst>
        </pc:spChg>
        <pc:spChg chg="mod">
          <ac:chgData name="Daniel Cole" userId="f20a75f9320a1647" providerId="LiveId" clId="{373200CA-EA42-426C-A8E4-F81830494491}" dt="2024-10-12T16:24:25.358" v="7071" actId="12788"/>
          <ac:spMkLst>
            <pc:docMk/>
            <pc:sldMk cId="4114144062" sldId="2147472867"/>
            <ac:spMk id="33" creationId="{6990BD71-2465-4379-A4D7-7FBCAA4652A8}"/>
          </ac:spMkLst>
        </pc:spChg>
        <pc:spChg chg="add mod">
          <ac:chgData name="Daniel Cole" userId="f20a75f9320a1647" providerId="LiveId" clId="{373200CA-EA42-426C-A8E4-F81830494491}" dt="2024-10-12T16:24:25.358" v="7071" actId="12788"/>
          <ac:spMkLst>
            <pc:docMk/>
            <pc:sldMk cId="4114144062" sldId="2147472867"/>
            <ac:spMk id="37" creationId="{72291E0C-0EB5-9B01-A0A7-6F3026380063}"/>
          </ac:spMkLst>
        </pc:spChg>
        <pc:spChg chg="mod">
          <ac:chgData name="Daniel Cole" userId="f20a75f9320a1647" providerId="LiveId" clId="{373200CA-EA42-426C-A8E4-F81830494491}" dt="2024-10-12T16:24:25.358" v="7071" actId="12788"/>
          <ac:spMkLst>
            <pc:docMk/>
            <pc:sldMk cId="4114144062" sldId="2147472867"/>
            <ac:spMk id="48" creationId="{DE545F7E-B13E-7023-A593-F038A6EA5D7B}"/>
          </ac:spMkLst>
        </pc:spChg>
        <pc:spChg chg="mod">
          <ac:chgData name="Daniel Cole" userId="f20a75f9320a1647" providerId="LiveId" clId="{373200CA-EA42-426C-A8E4-F81830494491}" dt="2024-10-12T16:50:57.006" v="7255" actId="123"/>
          <ac:spMkLst>
            <pc:docMk/>
            <pc:sldMk cId="4114144062" sldId="2147472867"/>
            <ac:spMk id="55" creationId="{3DC74743-DC50-A487-7F3E-274BE0538FB2}"/>
          </ac:spMkLst>
        </pc:spChg>
        <pc:spChg chg="mod topLvl">
          <ac:chgData name="Daniel Cole" userId="f20a75f9320a1647" providerId="LiveId" clId="{373200CA-EA42-426C-A8E4-F81830494491}" dt="2024-10-12T16:24:25.358" v="7071" actId="12788"/>
          <ac:spMkLst>
            <pc:docMk/>
            <pc:sldMk cId="4114144062" sldId="2147472867"/>
            <ac:spMk id="57" creationId="{5A4BDE39-308B-7A50-A28B-7FD3850A1D5B}"/>
          </ac:spMkLst>
        </pc:spChg>
        <pc:spChg chg="del mod">
          <ac:chgData name="Daniel Cole" userId="f20a75f9320a1647" providerId="LiveId" clId="{373200CA-EA42-426C-A8E4-F81830494491}" dt="2024-10-09T22:58:20.415" v="858" actId="21"/>
          <ac:spMkLst>
            <pc:docMk/>
            <pc:sldMk cId="4114144062" sldId="2147472867"/>
            <ac:spMk id="64" creationId="{9F79C47B-B054-CAAF-907C-D0D7F9F18F4E}"/>
          </ac:spMkLst>
        </pc:spChg>
        <pc:spChg chg="del mod">
          <ac:chgData name="Daniel Cole" userId="f20a75f9320a1647" providerId="LiveId" clId="{373200CA-EA42-426C-A8E4-F81830494491}" dt="2024-10-09T22:59:17.351" v="866" actId="21"/>
          <ac:spMkLst>
            <pc:docMk/>
            <pc:sldMk cId="4114144062" sldId="2147472867"/>
            <ac:spMk id="66" creationId="{FD31D8FF-8F9F-DF6A-D0E1-02A7E3943E09}"/>
          </ac:spMkLst>
        </pc:spChg>
        <pc:spChg chg="mod">
          <ac:chgData name="Daniel Cole" userId="f20a75f9320a1647" providerId="LiveId" clId="{373200CA-EA42-426C-A8E4-F81830494491}" dt="2024-10-12T16:32:25.569" v="7085" actId="20577"/>
          <ac:spMkLst>
            <pc:docMk/>
            <pc:sldMk cId="4114144062" sldId="2147472867"/>
            <ac:spMk id="67" creationId="{AAD39A9F-F214-CF4A-B63B-82D468FA24C7}"/>
          </ac:spMkLst>
        </pc:spChg>
        <pc:spChg chg="mod">
          <ac:chgData name="Daniel Cole" userId="f20a75f9320a1647" providerId="LiveId" clId="{373200CA-EA42-426C-A8E4-F81830494491}" dt="2024-10-12T16:24:25.358" v="7071" actId="12788"/>
          <ac:spMkLst>
            <pc:docMk/>
            <pc:sldMk cId="4114144062" sldId="2147472867"/>
            <ac:spMk id="69" creationId="{8C4FD724-2BAB-29EA-5DE8-DDEA5D590BE7}"/>
          </ac:spMkLst>
        </pc:spChg>
        <pc:spChg chg="mod">
          <ac:chgData name="Daniel Cole" userId="f20a75f9320a1647" providerId="LiveId" clId="{373200CA-EA42-426C-A8E4-F81830494491}" dt="2024-10-12T16:52:37.394" v="7256" actId="14100"/>
          <ac:spMkLst>
            <pc:docMk/>
            <pc:sldMk cId="4114144062" sldId="2147472867"/>
            <ac:spMk id="70" creationId="{6EDB960E-BB8E-2600-0EC4-B881DEFD1B01}"/>
          </ac:spMkLst>
        </pc:spChg>
        <pc:spChg chg="mod">
          <ac:chgData name="Daniel Cole" userId="f20a75f9320a1647" providerId="LiveId" clId="{373200CA-EA42-426C-A8E4-F81830494491}" dt="2024-10-12T16:24:25.358" v="7071" actId="12788"/>
          <ac:spMkLst>
            <pc:docMk/>
            <pc:sldMk cId="4114144062" sldId="2147472867"/>
            <ac:spMk id="71" creationId="{B502FAFC-081E-DC44-670B-A4A6CF525908}"/>
          </ac:spMkLst>
        </pc:spChg>
        <pc:spChg chg="mod">
          <ac:chgData name="Daniel Cole" userId="f20a75f9320a1647" providerId="LiveId" clId="{373200CA-EA42-426C-A8E4-F81830494491}" dt="2024-10-12T16:24:25.358" v="7071" actId="12788"/>
          <ac:spMkLst>
            <pc:docMk/>
            <pc:sldMk cId="4114144062" sldId="2147472867"/>
            <ac:spMk id="72" creationId="{B9AF4628-D526-63BF-8CB9-A4A5192B49DA}"/>
          </ac:spMkLst>
        </pc:spChg>
        <pc:spChg chg="mod">
          <ac:chgData name="Daniel Cole" userId="f20a75f9320a1647" providerId="LiveId" clId="{373200CA-EA42-426C-A8E4-F81830494491}" dt="2024-10-12T16:24:25.358" v="7071" actId="12788"/>
          <ac:spMkLst>
            <pc:docMk/>
            <pc:sldMk cId="4114144062" sldId="2147472867"/>
            <ac:spMk id="73" creationId="{B5B39EA3-377F-DB5B-C605-E9B33947646A}"/>
          </ac:spMkLst>
        </pc:spChg>
        <pc:spChg chg="mod">
          <ac:chgData name="Daniel Cole" userId="f20a75f9320a1647" providerId="LiveId" clId="{373200CA-EA42-426C-A8E4-F81830494491}" dt="2024-10-12T16:24:25.358" v="7071" actId="12788"/>
          <ac:spMkLst>
            <pc:docMk/>
            <pc:sldMk cId="4114144062" sldId="2147472867"/>
            <ac:spMk id="74" creationId="{5B14AB72-07DD-D403-8932-F4F19ADDCE63}"/>
          </ac:spMkLst>
        </pc:spChg>
        <pc:spChg chg="del">
          <ac:chgData name="Daniel Cole" userId="f20a75f9320a1647" providerId="LiveId" clId="{373200CA-EA42-426C-A8E4-F81830494491}" dt="2024-10-09T23:05:03.453" v="908" actId="21"/>
          <ac:spMkLst>
            <pc:docMk/>
            <pc:sldMk cId="4114144062" sldId="2147472867"/>
            <ac:spMk id="75" creationId="{86738B94-8FBC-22AE-D796-30D2A181B12B}"/>
          </ac:spMkLst>
        </pc:spChg>
        <pc:spChg chg="del">
          <ac:chgData name="Daniel Cole" userId="f20a75f9320a1647" providerId="LiveId" clId="{373200CA-EA42-426C-A8E4-F81830494491}" dt="2024-10-09T23:05:12.347" v="910" actId="21"/>
          <ac:spMkLst>
            <pc:docMk/>
            <pc:sldMk cId="4114144062" sldId="2147472867"/>
            <ac:spMk id="77" creationId="{B9F023C2-A190-53C8-27E7-4C121DC8700C}"/>
          </ac:spMkLst>
        </pc:spChg>
        <pc:spChg chg="mod">
          <ac:chgData name="Daniel Cole" userId="f20a75f9320a1647" providerId="LiveId" clId="{373200CA-EA42-426C-A8E4-F81830494491}" dt="2024-10-12T16:24:25.358" v="7071" actId="12788"/>
          <ac:spMkLst>
            <pc:docMk/>
            <pc:sldMk cId="4114144062" sldId="2147472867"/>
            <ac:spMk id="78" creationId="{9C26E0D8-3FF2-87B0-B30A-9773176B1763}"/>
          </ac:spMkLst>
        </pc:spChg>
        <pc:spChg chg="mod">
          <ac:chgData name="Daniel Cole" userId="f20a75f9320a1647" providerId="LiveId" clId="{373200CA-EA42-426C-A8E4-F81830494491}" dt="2024-10-12T16:24:25.358" v="7071" actId="12788"/>
          <ac:spMkLst>
            <pc:docMk/>
            <pc:sldMk cId="4114144062" sldId="2147472867"/>
            <ac:spMk id="79" creationId="{5D355B48-8DBA-4EB0-ADD3-919734DEFD13}"/>
          </ac:spMkLst>
        </pc:spChg>
        <pc:spChg chg="mod">
          <ac:chgData name="Daniel Cole" userId="f20a75f9320a1647" providerId="LiveId" clId="{373200CA-EA42-426C-A8E4-F81830494491}" dt="2024-10-12T16:24:25.358" v="7071" actId="12788"/>
          <ac:spMkLst>
            <pc:docMk/>
            <pc:sldMk cId="4114144062" sldId="2147472867"/>
            <ac:spMk id="81" creationId="{ED164229-DB95-9AEA-0587-641168F63181}"/>
          </ac:spMkLst>
        </pc:spChg>
        <pc:grpChg chg="del mod">
          <ac:chgData name="Daniel Cole" userId="f20a75f9320a1647" providerId="LiveId" clId="{373200CA-EA42-426C-A8E4-F81830494491}" dt="2024-10-12T16:24:04.082" v="7069" actId="165"/>
          <ac:grpSpMkLst>
            <pc:docMk/>
            <pc:sldMk cId="4114144062" sldId="2147472867"/>
            <ac:grpSpMk id="2" creationId="{6AA4E3AC-F5F1-3878-12F9-CB1840893311}"/>
          </ac:grpSpMkLst>
        </pc:grpChg>
        <pc:grpChg chg="del mod">
          <ac:chgData name="Daniel Cole" userId="f20a75f9320a1647" providerId="LiveId" clId="{373200CA-EA42-426C-A8E4-F81830494491}" dt="2024-10-12T16:24:04.082" v="7069" actId="165"/>
          <ac:grpSpMkLst>
            <pc:docMk/>
            <pc:sldMk cId="4114144062" sldId="2147472867"/>
            <ac:grpSpMk id="3" creationId="{8C04D1EF-00BD-1B5E-76D2-0330D58BCB53}"/>
          </ac:grpSpMkLst>
        </pc:grpChg>
        <pc:cxnChg chg="mod topLvl">
          <ac:chgData name="Daniel Cole" userId="f20a75f9320a1647" providerId="LiveId" clId="{373200CA-EA42-426C-A8E4-F81830494491}" dt="2024-10-12T16:24:25.358" v="7071" actId="12788"/>
          <ac:cxnSpMkLst>
            <pc:docMk/>
            <pc:sldMk cId="4114144062" sldId="2147472867"/>
            <ac:cxnSpMk id="4" creationId="{CAA1AB46-215F-584C-0810-ADB948E993D0}"/>
          </ac:cxnSpMkLst>
        </pc:cxnChg>
        <pc:cxnChg chg="mod">
          <ac:chgData name="Daniel Cole" userId="f20a75f9320a1647" providerId="LiveId" clId="{373200CA-EA42-426C-A8E4-F81830494491}" dt="2024-10-12T16:24:25.358" v="7071" actId="12788"/>
          <ac:cxnSpMkLst>
            <pc:docMk/>
            <pc:sldMk cId="4114144062" sldId="2147472867"/>
            <ac:cxnSpMk id="10" creationId="{2B93374E-850C-B341-63C1-60B4B9C370E8}"/>
          </ac:cxnSpMkLst>
        </pc:cxnChg>
        <pc:cxnChg chg="add del">
          <ac:chgData name="Daniel Cole" userId="f20a75f9320a1647" providerId="LiveId" clId="{373200CA-EA42-426C-A8E4-F81830494491}" dt="2024-10-12T16:03:32.222" v="6762" actId="478"/>
          <ac:cxnSpMkLst>
            <pc:docMk/>
            <pc:sldMk cId="4114144062" sldId="2147472867"/>
            <ac:cxnSpMk id="13" creationId="{68490AB7-A6F5-88E3-4EE8-2C441CEAB6D7}"/>
          </ac:cxnSpMkLst>
        </pc:cxnChg>
        <pc:cxnChg chg="add del">
          <ac:chgData name="Daniel Cole" userId="f20a75f9320a1647" providerId="LiveId" clId="{373200CA-EA42-426C-A8E4-F81830494491}" dt="2024-10-12T16:03:47.698" v="6764" actId="478"/>
          <ac:cxnSpMkLst>
            <pc:docMk/>
            <pc:sldMk cId="4114144062" sldId="2147472867"/>
            <ac:cxnSpMk id="15" creationId="{28CE25BB-970A-3370-9C29-E6FC8C052EF2}"/>
          </ac:cxnSpMkLst>
        </pc:cxnChg>
        <pc:cxnChg chg="add mod">
          <ac:chgData name="Daniel Cole" userId="f20a75f9320a1647" providerId="LiveId" clId="{373200CA-EA42-426C-A8E4-F81830494491}" dt="2024-10-12T16:24:25.358" v="7071" actId="12788"/>
          <ac:cxnSpMkLst>
            <pc:docMk/>
            <pc:sldMk cId="4114144062" sldId="2147472867"/>
            <ac:cxnSpMk id="20" creationId="{0782D8E5-A2CF-4264-8053-5D136D73EF03}"/>
          </ac:cxnSpMkLst>
        </pc:cxnChg>
        <pc:cxnChg chg="add mod">
          <ac:chgData name="Daniel Cole" userId="f20a75f9320a1647" providerId="LiveId" clId="{373200CA-EA42-426C-A8E4-F81830494491}" dt="2024-10-12T16:24:25.358" v="7071" actId="12788"/>
          <ac:cxnSpMkLst>
            <pc:docMk/>
            <pc:sldMk cId="4114144062" sldId="2147472867"/>
            <ac:cxnSpMk id="24" creationId="{31167780-AC4E-70AC-F4ED-CC2AAB302C72}"/>
          </ac:cxnSpMkLst>
        </pc:cxnChg>
        <pc:cxnChg chg="add mod">
          <ac:chgData name="Daniel Cole" userId="f20a75f9320a1647" providerId="LiveId" clId="{373200CA-EA42-426C-A8E4-F81830494491}" dt="2024-10-12T16:24:25.358" v="7071" actId="12788"/>
          <ac:cxnSpMkLst>
            <pc:docMk/>
            <pc:sldMk cId="4114144062" sldId="2147472867"/>
            <ac:cxnSpMk id="25" creationId="{62D0E62C-0131-04CF-399E-E5F37B44CAA6}"/>
          </ac:cxnSpMkLst>
        </pc:cxnChg>
        <pc:cxnChg chg="add mod">
          <ac:chgData name="Daniel Cole" userId="f20a75f9320a1647" providerId="LiveId" clId="{373200CA-EA42-426C-A8E4-F81830494491}" dt="2024-10-12T16:24:25.358" v="7071" actId="12788"/>
          <ac:cxnSpMkLst>
            <pc:docMk/>
            <pc:sldMk cId="4114144062" sldId="2147472867"/>
            <ac:cxnSpMk id="28" creationId="{2E42809D-136B-EEF2-4A20-0E6C5B5EF52A}"/>
          </ac:cxnSpMkLst>
        </pc:cxnChg>
        <pc:cxnChg chg="add mod">
          <ac:chgData name="Daniel Cole" userId="f20a75f9320a1647" providerId="LiveId" clId="{373200CA-EA42-426C-A8E4-F81830494491}" dt="2024-10-12T16:24:25.358" v="7071" actId="12788"/>
          <ac:cxnSpMkLst>
            <pc:docMk/>
            <pc:sldMk cId="4114144062" sldId="2147472867"/>
            <ac:cxnSpMk id="29" creationId="{913E2965-DEDE-1A21-BB65-6527C7CAB716}"/>
          </ac:cxnSpMkLst>
        </pc:cxnChg>
        <pc:cxnChg chg="add mod">
          <ac:chgData name="Daniel Cole" userId="f20a75f9320a1647" providerId="LiveId" clId="{373200CA-EA42-426C-A8E4-F81830494491}" dt="2024-10-12T16:24:25.358" v="7071" actId="12788"/>
          <ac:cxnSpMkLst>
            <pc:docMk/>
            <pc:sldMk cId="4114144062" sldId="2147472867"/>
            <ac:cxnSpMk id="31" creationId="{4E014CAD-00D7-1EAF-9917-D74A777AFB48}"/>
          </ac:cxnSpMkLst>
        </pc:cxnChg>
        <pc:cxnChg chg="add del mod">
          <ac:chgData name="Daniel Cole" userId="f20a75f9320a1647" providerId="LiveId" clId="{373200CA-EA42-426C-A8E4-F81830494491}" dt="2024-10-12T16:13:54.561" v="6877" actId="478"/>
          <ac:cxnSpMkLst>
            <pc:docMk/>
            <pc:sldMk cId="4114144062" sldId="2147472867"/>
            <ac:cxnSpMk id="32" creationId="{873EABEE-C360-14B5-A4E5-9F932C52A67D}"/>
          </ac:cxnSpMkLst>
        </pc:cxnChg>
        <pc:cxnChg chg="mod">
          <ac:chgData name="Daniel Cole" userId="f20a75f9320a1647" providerId="LiveId" clId="{373200CA-EA42-426C-A8E4-F81830494491}" dt="2024-10-12T16:24:25.358" v="7071" actId="12788"/>
          <ac:cxnSpMkLst>
            <pc:docMk/>
            <pc:sldMk cId="4114144062" sldId="2147472867"/>
            <ac:cxnSpMk id="44" creationId="{3B659461-FA33-7401-DDB9-AB3FE12E2C8D}"/>
          </ac:cxnSpMkLst>
        </pc:cxnChg>
        <pc:cxnChg chg="mod">
          <ac:chgData name="Daniel Cole" userId="f20a75f9320a1647" providerId="LiveId" clId="{373200CA-EA42-426C-A8E4-F81830494491}" dt="2024-10-12T16:24:25.358" v="7071" actId="12788"/>
          <ac:cxnSpMkLst>
            <pc:docMk/>
            <pc:sldMk cId="4114144062" sldId="2147472867"/>
            <ac:cxnSpMk id="45" creationId="{0BF7C498-9F43-B2B0-5AD1-F351595E3CFD}"/>
          </ac:cxnSpMkLst>
        </pc:cxnChg>
        <pc:cxnChg chg="mod">
          <ac:chgData name="Daniel Cole" userId="f20a75f9320a1647" providerId="LiveId" clId="{373200CA-EA42-426C-A8E4-F81830494491}" dt="2024-10-12T16:24:25.358" v="7071" actId="12788"/>
          <ac:cxnSpMkLst>
            <pc:docMk/>
            <pc:sldMk cId="4114144062" sldId="2147472867"/>
            <ac:cxnSpMk id="46" creationId="{34403E40-D023-6694-DE9A-B298D1D5E0F2}"/>
          </ac:cxnSpMkLst>
        </pc:cxnChg>
        <pc:cxnChg chg="mod">
          <ac:chgData name="Daniel Cole" userId="f20a75f9320a1647" providerId="LiveId" clId="{373200CA-EA42-426C-A8E4-F81830494491}" dt="2024-10-12T16:24:25.358" v="7071" actId="12788"/>
          <ac:cxnSpMkLst>
            <pc:docMk/>
            <pc:sldMk cId="4114144062" sldId="2147472867"/>
            <ac:cxnSpMk id="47" creationId="{42F3EEA1-3174-39A6-A3F1-8EAF0371F615}"/>
          </ac:cxnSpMkLst>
        </pc:cxnChg>
        <pc:cxnChg chg="mod">
          <ac:chgData name="Daniel Cole" userId="f20a75f9320a1647" providerId="LiveId" clId="{373200CA-EA42-426C-A8E4-F81830494491}" dt="2024-10-12T16:24:25.358" v="7071" actId="12788"/>
          <ac:cxnSpMkLst>
            <pc:docMk/>
            <pc:sldMk cId="4114144062" sldId="2147472867"/>
            <ac:cxnSpMk id="49" creationId="{CCC02089-2152-49D2-C675-0383ED3E8516}"/>
          </ac:cxnSpMkLst>
        </pc:cxnChg>
        <pc:cxnChg chg="mod">
          <ac:chgData name="Daniel Cole" userId="f20a75f9320a1647" providerId="LiveId" clId="{373200CA-EA42-426C-A8E4-F81830494491}" dt="2024-10-12T16:24:25.358" v="7071" actId="12788"/>
          <ac:cxnSpMkLst>
            <pc:docMk/>
            <pc:sldMk cId="4114144062" sldId="2147472867"/>
            <ac:cxnSpMk id="51" creationId="{463D60D4-2E84-849D-1F78-EE38CA722DC7}"/>
          </ac:cxnSpMkLst>
        </pc:cxnChg>
        <pc:cxnChg chg="mod topLvl">
          <ac:chgData name="Daniel Cole" userId="f20a75f9320a1647" providerId="LiveId" clId="{373200CA-EA42-426C-A8E4-F81830494491}" dt="2024-10-12T16:24:25.358" v="7071" actId="12788"/>
          <ac:cxnSpMkLst>
            <pc:docMk/>
            <pc:sldMk cId="4114144062" sldId="2147472867"/>
            <ac:cxnSpMk id="56" creationId="{EE2E1492-DC84-3A1F-2000-19C7DBF95C79}"/>
          </ac:cxnSpMkLst>
        </pc:cxnChg>
        <pc:cxnChg chg="mod">
          <ac:chgData name="Daniel Cole" userId="f20a75f9320a1647" providerId="LiveId" clId="{373200CA-EA42-426C-A8E4-F81830494491}" dt="2024-10-12T16:24:25.358" v="7071" actId="12788"/>
          <ac:cxnSpMkLst>
            <pc:docMk/>
            <pc:sldMk cId="4114144062" sldId="2147472867"/>
            <ac:cxnSpMk id="63" creationId="{D7D00006-118D-C7A0-13D5-FC88796DC153}"/>
          </ac:cxnSpMkLst>
        </pc:cxnChg>
      </pc:sldChg>
      <pc:sldChg chg="modSp mod">
        <pc:chgData name="Daniel Cole" userId="f20a75f9320a1647" providerId="LiveId" clId="{373200CA-EA42-426C-A8E4-F81830494491}" dt="2024-10-08T00:44:27.222" v="2" actId="313"/>
        <pc:sldMkLst>
          <pc:docMk/>
          <pc:sldMk cId="686273604" sldId="2147472872"/>
        </pc:sldMkLst>
        <pc:spChg chg="mod">
          <ac:chgData name="Daniel Cole" userId="f20a75f9320a1647" providerId="LiveId" clId="{373200CA-EA42-426C-A8E4-F81830494491}" dt="2024-10-08T00:44:27.222" v="2" actId="313"/>
          <ac:spMkLst>
            <pc:docMk/>
            <pc:sldMk cId="686273604" sldId="2147472872"/>
            <ac:spMk id="37" creationId="{337B4877-9244-F186-0BE9-F4993E923B3A}"/>
          </ac:spMkLst>
        </pc:spChg>
      </pc:sldChg>
      <pc:sldChg chg="addSp delSp modSp add del mod ord">
        <pc:chgData name="Daniel Cole" userId="f20a75f9320a1647" providerId="LiveId" clId="{373200CA-EA42-426C-A8E4-F81830494491}" dt="2024-10-13T13:41:10.592" v="7258" actId="2696"/>
        <pc:sldMkLst>
          <pc:docMk/>
          <pc:sldMk cId="1090327361" sldId="2147472873"/>
        </pc:sldMkLst>
        <pc:spChg chg="del">
          <ac:chgData name="Daniel Cole" userId="f20a75f9320a1647" providerId="LiveId" clId="{373200CA-EA42-426C-A8E4-F81830494491}" dt="2024-10-09T22:59:07.652" v="863" actId="478"/>
          <ac:spMkLst>
            <pc:docMk/>
            <pc:sldMk cId="1090327361" sldId="2147472873"/>
            <ac:spMk id="6" creationId="{ABD9A3D7-B373-3243-593B-8B46127BDE29}"/>
          </ac:spMkLst>
        </pc:spChg>
        <pc:spChg chg="del">
          <ac:chgData name="Daniel Cole" userId="f20a75f9320a1647" providerId="LiveId" clId="{373200CA-EA42-426C-A8E4-F81830494491}" dt="2024-10-09T22:59:07.652" v="863" actId="478"/>
          <ac:spMkLst>
            <pc:docMk/>
            <pc:sldMk cId="1090327361" sldId="2147472873"/>
            <ac:spMk id="34" creationId="{A9030232-A8F8-ED46-E647-2A5C816BC61B}"/>
          </ac:spMkLst>
        </pc:spChg>
        <pc:spChg chg="del">
          <ac:chgData name="Daniel Cole" userId="f20a75f9320a1647" providerId="LiveId" clId="{373200CA-EA42-426C-A8E4-F81830494491}" dt="2024-10-09T22:59:07.652" v="863" actId="478"/>
          <ac:spMkLst>
            <pc:docMk/>
            <pc:sldMk cId="1090327361" sldId="2147472873"/>
            <ac:spMk id="61" creationId="{21C4A28F-45D4-8F65-E5B9-5E76EC91F82F}"/>
          </ac:spMkLst>
        </pc:spChg>
        <pc:spChg chg="del">
          <ac:chgData name="Daniel Cole" userId="f20a75f9320a1647" providerId="LiveId" clId="{373200CA-EA42-426C-A8E4-F81830494491}" dt="2024-10-09T22:59:07.652" v="863" actId="478"/>
          <ac:spMkLst>
            <pc:docMk/>
            <pc:sldMk cId="1090327361" sldId="2147472873"/>
            <ac:spMk id="62" creationId="{2ACDCF3F-9793-C976-9D53-FEC2806EA56A}"/>
          </ac:spMkLst>
        </pc:spChg>
        <pc:spChg chg="add mod">
          <ac:chgData name="Daniel Cole" userId="f20a75f9320a1647" providerId="LiveId" clId="{373200CA-EA42-426C-A8E4-F81830494491}" dt="2024-10-09T22:59:20.114" v="867"/>
          <ac:spMkLst>
            <pc:docMk/>
            <pc:sldMk cId="1090327361" sldId="2147472873"/>
            <ac:spMk id="66" creationId="{FD31D8FF-8F9F-DF6A-D0E1-02A7E3943E09}"/>
          </ac:spMkLst>
        </pc:spChg>
        <pc:spChg chg="add mod">
          <ac:chgData name="Daniel Cole" userId="f20a75f9320a1647" providerId="LiveId" clId="{373200CA-EA42-426C-A8E4-F81830494491}" dt="2024-10-09T23:05:06.457" v="909"/>
          <ac:spMkLst>
            <pc:docMk/>
            <pc:sldMk cId="1090327361" sldId="2147472873"/>
            <ac:spMk id="75" creationId="{86738B94-8FBC-22AE-D796-30D2A181B12B}"/>
          </ac:spMkLst>
        </pc:spChg>
        <pc:spChg chg="add mod">
          <ac:chgData name="Daniel Cole" userId="f20a75f9320a1647" providerId="LiveId" clId="{373200CA-EA42-426C-A8E4-F81830494491}" dt="2024-10-09T23:05:16.109" v="911"/>
          <ac:spMkLst>
            <pc:docMk/>
            <pc:sldMk cId="1090327361" sldId="2147472873"/>
            <ac:spMk id="77" creationId="{B9F023C2-A190-53C8-27E7-4C121DC8700C}"/>
          </ac:spMkLst>
        </pc:spChg>
        <pc:graphicFrameChg chg="del">
          <ac:chgData name="Daniel Cole" userId="f20a75f9320a1647" providerId="LiveId" clId="{373200CA-EA42-426C-A8E4-F81830494491}" dt="2024-10-09T22:59:07.652" v="863" actId="478"/>
          <ac:graphicFrameMkLst>
            <pc:docMk/>
            <pc:sldMk cId="1090327361" sldId="2147472873"/>
            <ac:graphicFrameMk id="5" creationId="{1F885A0D-D54F-8E6B-B009-02795873A1AD}"/>
          </ac:graphicFrameMkLst>
        </pc:graphicFrameChg>
        <pc:graphicFrameChg chg="del">
          <ac:chgData name="Daniel Cole" userId="f20a75f9320a1647" providerId="LiveId" clId="{373200CA-EA42-426C-A8E4-F81830494491}" dt="2024-10-09T22:59:07.652" v="863" actId="478"/>
          <ac:graphicFrameMkLst>
            <pc:docMk/>
            <pc:sldMk cId="1090327361" sldId="2147472873"/>
            <ac:graphicFrameMk id="46" creationId="{B51DECCF-FF95-2C0A-2C5C-CD9CD8568A2E}"/>
          </ac:graphicFrameMkLst>
        </pc:graphicFrameChg>
      </pc:sldChg>
      <pc:sldChg chg="addSp delSp modSp add mod">
        <pc:chgData name="Daniel Cole" userId="f20a75f9320a1647" providerId="LiveId" clId="{373200CA-EA42-426C-A8E4-F81830494491}" dt="2024-10-12T16:48:56.005" v="7243" actId="14100"/>
        <pc:sldMkLst>
          <pc:docMk/>
          <pc:sldMk cId="160860262" sldId="2147472874"/>
        </pc:sldMkLst>
        <pc:spChg chg="add mod topLvl">
          <ac:chgData name="Daniel Cole" userId="f20a75f9320a1647" providerId="LiveId" clId="{373200CA-EA42-426C-A8E4-F81830494491}" dt="2024-10-11T21:10:14.949" v="6307" actId="164"/>
          <ac:spMkLst>
            <pc:docMk/>
            <pc:sldMk cId="160860262" sldId="2147472874"/>
            <ac:spMk id="2" creationId="{EC02768E-29CE-798F-92B5-9AB0DE615D80}"/>
          </ac:spMkLst>
        </pc:spChg>
        <pc:spChg chg="del mod">
          <ac:chgData name="Daniel Cole" userId="f20a75f9320a1647" providerId="LiveId" clId="{373200CA-EA42-426C-A8E4-F81830494491}" dt="2024-10-10T01:39:54.264" v="2125" actId="478"/>
          <ac:spMkLst>
            <pc:docMk/>
            <pc:sldMk cId="160860262" sldId="2147472874"/>
            <ac:spMk id="3" creationId="{AC84DD52-CCB0-0933-E259-34ACDE031A3B}"/>
          </ac:spMkLst>
        </pc:spChg>
        <pc:spChg chg="add mod topLvl">
          <ac:chgData name="Daniel Cole" userId="f20a75f9320a1647" providerId="LiveId" clId="{373200CA-EA42-426C-A8E4-F81830494491}" dt="2024-10-11T21:10:14.949" v="6307" actId="164"/>
          <ac:spMkLst>
            <pc:docMk/>
            <pc:sldMk cId="160860262" sldId="2147472874"/>
            <ac:spMk id="4" creationId="{3F6AF7A0-DF44-1421-EB00-E6D8279EE2DF}"/>
          </ac:spMkLst>
        </pc:spChg>
        <pc:spChg chg="del">
          <ac:chgData name="Daniel Cole" userId="f20a75f9320a1647" providerId="LiveId" clId="{373200CA-EA42-426C-A8E4-F81830494491}" dt="2024-10-10T01:07:43.949" v="1286" actId="478"/>
          <ac:spMkLst>
            <pc:docMk/>
            <pc:sldMk cId="160860262" sldId="2147472874"/>
            <ac:spMk id="6" creationId="{9AA811C6-78DE-A01A-FCC7-723D27CCA5DF}"/>
          </ac:spMkLst>
        </pc:spChg>
        <pc:spChg chg="add del mod">
          <ac:chgData name="Daniel Cole" userId="f20a75f9320a1647" providerId="LiveId" clId="{373200CA-EA42-426C-A8E4-F81830494491}" dt="2024-10-10T02:16:39.315" v="2522" actId="478"/>
          <ac:spMkLst>
            <pc:docMk/>
            <pc:sldMk cId="160860262" sldId="2147472874"/>
            <ac:spMk id="7" creationId="{66BA5A3F-9877-875D-83C7-496AD38D1A05}"/>
          </ac:spMkLst>
        </pc:spChg>
        <pc:spChg chg="add del mod topLvl">
          <ac:chgData name="Daniel Cole" userId="f20a75f9320a1647" providerId="LiveId" clId="{373200CA-EA42-426C-A8E4-F81830494491}" dt="2024-10-11T15:02:34.321" v="3059" actId="478"/>
          <ac:spMkLst>
            <pc:docMk/>
            <pc:sldMk cId="160860262" sldId="2147472874"/>
            <ac:spMk id="12" creationId="{EC831C56-0114-B466-7058-DB3250A20FA2}"/>
          </ac:spMkLst>
        </pc:spChg>
        <pc:spChg chg="add mod">
          <ac:chgData name="Daniel Cole" userId="f20a75f9320a1647" providerId="LiveId" clId="{373200CA-EA42-426C-A8E4-F81830494491}" dt="2024-10-11T21:09:49.260" v="6306" actId="1035"/>
          <ac:spMkLst>
            <pc:docMk/>
            <pc:sldMk cId="160860262" sldId="2147472874"/>
            <ac:spMk id="19" creationId="{4ECA455C-D9A3-A2AF-932E-94E9CADAAD98}"/>
          </ac:spMkLst>
        </pc:spChg>
        <pc:spChg chg="add mod">
          <ac:chgData name="Daniel Cole" userId="f20a75f9320a1647" providerId="LiveId" clId="{373200CA-EA42-426C-A8E4-F81830494491}" dt="2024-10-11T21:10:28.521" v="6320" actId="552"/>
          <ac:spMkLst>
            <pc:docMk/>
            <pc:sldMk cId="160860262" sldId="2147472874"/>
            <ac:spMk id="20" creationId="{D372AC1C-DFDF-BF20-5F6A-6B8B5E17DF08}"/>
          </ac:spMkLst>
        </pc:spChg>
        <pc:spChg chg="add mod topLvl">
          <ac:chgData name="Daniel Cole" userId="f20a75f9320a1647" providerId="LiveId" clId="{373200CA-EA42-426C-A8E4-F81830494491}" dt="2024-10-11T21:10:14.949" v="6307" actId="164"/>
          <ac:spMkLst>
            <pc:docMk/>
            <pc:sldMk cId="160860262" sldId="2147472874"/>
            <ac:spMk id="24" creationId="{BD03EC14-1C69-CE67-5D85-481DB74C4A55}"/>
          </ac:spMkLst>
        </pc:spChg>
        <pc:spChg chg="add mod topLvl">
          <ac:chgData name="Daniel Cole" userId="f20a75f9320a1647" providerId="LiveId" clId="{373200CA-EA42-426C-A8E4-F81830494491}" dt="2024-10-11T21:10:14.949" v="6307" actId="164"/>
          <ac:spMkLst>
            <pc:docMk/>
            <pc:sldMk cId="160860262" sldId="2147472874"/>
            <ac:spMk id="25" creationId="{C3EFEEE0-1D4F-7CE1-4801-2667BF85F262}"/>
          </ac:spMkLst>
        </pc:spChg>
        <pc:spChg chg="add del mod">
          <ac:chgData name="Daniel Cole" userId="f20a75f9320a1647" providerId="LiveId" clId="{373200CA-EA42-426C-A8E4-F81830494491}" dt="2024-10-10T01:49:07.455" v="2263" actId="478"/>
          <ac:spMkLst>
            <pc:docMk/>
            <pc:sldMk cId="160860262" sldId="2147472874"/>
            <ac:spMk id="26" creationId="{53F3A838-4AD4-398C-4661-1B5F8E3D5158}"/>
          </ac:spMkLst>
        </pc:spChg>
        <pc:spChg chg="add mod topLvl">
          <ac:chgData name="Daniel Cole" userId="f20a75f9320a1647" providerId="LiveId" clId="{373200CA-EA42-426C-A8E4-F81830494491}" dt="2024-10-11T21:10:14.949" v="6307" actId="164"/>
          <ac:spMkLst>
            <pc:docMk/>
            <pc:sldMk cId="160860262" sldId="2147472874"/>
            <ac:spMk id="27" creationId="{28949040-73B7-FF11-3919-72FD2CAE9E31}"/>
          </ac:spMkLst>
        </pc:spChg>
        <pc:spChg chg="add mod topLvl">
          <ac:chgData name="Daniel Cole" userId="f20a75f9320a1647" providerId="LiveId" clId="{373200CA-EA42-426C-A8E4-F81830494491}" dt="2024-10-11T21:10:14.949" v="6307" actId="164"/>
          <ac:spMkLst>
            <pc:docMk/>
            <pc:sldMk cId="160860262" sldId="2147472874"/>
            <ac:spMk id="28" creationId="{DF1D713F-A6D2-B93E-F1B3-ACB5ACCEB211}"/>
          </ac:spMkLst>
        </pc:spChg>
        <pc:spChg chg="add mod topLvl">
          <ac:chgData name="Daniel Cole" userId="f20a75f9320a1647" providerId="LiveId" clId="{373200CA-EA42-426C-A8E4-F81830494491}" dt="2024-10-11T21:10:14.949" v="6307" actId="164"/>
          <ac:spMkLst>
            <pc:docMk/>
            <pc:sldMk cId="160860262" sldId="2147472874"/>
            <ac:spMk id="29" creationId="{D21687AC-E2F2-440D-BE9D-7BA768647673}"/>
          </ac:spMkLst>
        </pc:spChg>
        <pc:spChg chg="add mod topLvl">
          <ac:chgData name="Daniel Cole" userId="f20a75f9320a1647" providerId="LiveId" clId="{373200CA-EA42-426C-A8E4-F81830494491}" dt="2024-10-11T21:10:14.949" v="6307" actId="164"/>
          <ac:spMkLst>
            <pc:docMk/>
            <pc:sldMk cId="160860262" sldId="2147472874"/>
            <ac:spMk id="30" creationId="{85F148AF-EE82-205B-81F8-17A525E1F5DB}"/>
          </ac:spMkLst>
        </pc:spChg>
        <pc:spChg chg="add mod topLvl">
          <ac:chgData name="Daniel Cole" userId="f20a75f9320a1647" providerId="LiveId" clId="{373200CA-EA42-426C-A8E4-F81830494491}" dt="2024-10-11T21:10:14.949" v="6307" actId="164"/>
          <ac:spMkLst>
            <pc:docMk/>
            <pc:sldMk cId="160860262" sldId="2147472874"/>
            <ac:spMk id="31" creationId="{AE9C0DD3-F0C1-D85D-A4AD-66C9C3F39C9A}"/>
          </ac:spMkLst>
        </pc:spChg>
        <pc:spChg chg="add mod topLvl">
          <ac:chgData name="Daniel Cole" userId="f20a75f9320a1647" providerId="LiveId" clId="{373200CA-EA42-426C-A8E4-F81830494491}" dt="2024-10-11T21:10:14.949" v="6307" actId="164"/>
          <ac:spMkLst>
            <pc:docMk/>
            <pc:sldMk cId="160860262" sldId="2147472874"/>
            <ac:spMk id="32" creationId="{C56830C9-EC6B-19C8-6587-C50053A302C2}"/>
          </ac:spMkLst>
        </pc:spChg>
        <pc:spChg chg="del">
          <ac:chgData name="Daniel Cole" userId="f20a75f9320a1647" providerId="LiveId" clId="{373200CA-EA42-426C-A8E4-F81830494491}" dt="2024-10-10T01:07:43.949" v="1286" actId="478"/>
          <ac:spMkLst>
            <pc:docMk/>
            <pc:sldMk cId="160860262" sldId="2147472874"/>
            <ac:spMk id="34" creationId="{0957BAB0-EF30-2BB7-AA76-6E78DC568170}"/>
          </ac:spMkLst>
        </pc:spChg>
        <pc:spChg chg="add mod topLvl">
          <ac:chgData name="Daniel Cole" userId="f20a75f9320a1647" providerId="LiveId" clId="{373200CA-EA42-426C-A8E4-F81830494491}" dt="2024-10-11T21:10:14.949" v="6307" actId="164"/>
          <ac:spMkLst>
            <pc:docMk/>
            <pc:sldMk cId="160860262" sldId="2147472874"/>
            <ac:spMk id="36" creationId="{46485A5D-BCAD-833B-8897-2F3112BF52F1}"/>
          </ac:spMkLst>
        </pc:spChg>
        <pc:spChg chg="add del mod">
          <ac:chgData name="Daniel Cole" userId="f20a75f9320a1647" providerId="LiveId" clId="{373200CA-EA42-426C-A8E4-F81830494491}" dt="2024-10-10T02:18:16.335" v="2536" actId="478"/>
          <ac:spMkLst>
            <pc:docMk/>
            <pc:sldMk cId="160860262" sldId="2147472874"/>
            <ac:spMk id="37" creationId="{B0D641F5-8251-4678-BCF1-49324EB8DA86}"/>
          </ac:spMkLst>
        </pc:spChg>
        <pc:spChg chg="add mod topLvl">
          <ac:chgData name="Daniel Cole" userId="f20a75f9320a1647" providerId="LiveId" clId="{373200CA-EA42-426C-A8E4-F81830494491}" dt="2024-10-11T21:10:14.949" v="6307" actId="164"/>
          <ac:spMkLst>
            <pc:docMk/>
            <pc:sldMk cId="160860262" sldId="2147472874"/>
            <ac:spMk id="38" creationId="{D503E1CA-CB8B-D75B-938F-A06237067CE1}"/>
          </ac:spMkLst>
        </pc:spChg>
        <pc:spChg chg="add mod topLvl">
          <ac:chgData name="Daniel Cole" userId="f20a75f9320a1647" providerId="LiveId" clId="{373200CA-EA42-426C-A8E4-F81830494491}" dt="2024-10-11T21:10:14.949" v="6307" actId="164"/>
          <ac:spMkLst>
            <pc:docMk/>
            <pc:sldMk cId="160860262" sldId="2147472874"/>
            <ac:spMk id="39" creationId="{3D2F92DA-17E6-1B29-368F-F7F39C8C3928}"/>
          </ac:spMkLst>
        </pc:spChg>
        <pc:spChg chg="add mod topLvl">
          <ac:chgData name="Daniel Cole" userId="f20a75f9320a1647" providerId="LiveId" clId="{373200CA-EA42-426C-A8E4-F81830494491}" dt="2024-10-11T21:10:14.949" v="6307" actId="164"/>
          <ac:spMkLst>
            <pc:docMk/>
            <pc:sldMk cId="160860262" sldId="2147472874"/>
            <ac:spMk id="40" creationId="{EE40EC70-7877-7055-85E9-8871C33933C2}"/>
          </ac:spMkLst>
        </pc:spChg>
        <pc:spChg chg="add del mod">
          <ac:chgData name="Daniel Cole" userId="f20a75f9320a1647" providerId="LiveId" clId="{373200CA-EA42-426C-A8E4-F81830494491}" dt="2024-10-11T13:21:46.799" v="2773" actId="478"/>
          <ac:spMkLst>
            <pc:docMk/>
            <pc:sldMk cId="160860262" sldId="2147472874"/>
            <ac:spMk id="41" creationId="{2207F4D6-CD3D-C8F2-486B-5A1770831AE8}"/>
          </ac:spMkLst>
        </pc:spChg>
        <pc:spChg chg="add mod topLvl">
          <ac:chgData name="Daniel Cole" userId="f20a75f9320a1647" providerId="LiveId" clId="{373200CA-EA42-426C-A8E4-F81830494491}" dt="2024-10-11T21:10:14.949" v="6307" actId="164"/>
          <ac:spMkLst>
            <pc:docMk/>
            <pc:sldMk cId="160860262" sldId="2147472874"/>
            <ac:spMk id="42" creationId="{D42A96A5-F861-782A-B3D1-C2A4DAFDE97C}"/>
          </ac:spMkLst>
        </pc:spChg>
        <pc:spChg chg="add mod topLvl">
          <ac:chgData name="Daniel Cole" userId="f20a75f9320a1647" providerId="LiveId" clId="{373200CA-EA42-426C-A8E4-F81830494491}" dt="2024-10-11T21:10:14.949" v="6307" actId="164"/>
          <ac:spMkLst>
            <pc:docMk/>
            <pc:sldMk cId="160860262" sldId="2147472874"/>
            <ac:spMk id="43" creationId="{D4AA9E7A-5DF5-95BA-4802-56C105B46664}"/>
          </ac:spMkLst>
        </pc:spChg>
        <pc:spChg chg="add mod topLvl">
          <ac:chgData name="Daniel Cole" userId="f20a75f9320a1647" providerId="LiveId" clId="{373200CA-EA42-426C-A8E4-F81830494491}" dt="2024-10-11T21:10:14.949" v="6307" actId="164"/>
          <ac:spMkLst>
            <pc:docMk/>
            <pc:sldMk cId="160860262" sldId="2147472874"/>
            <ac:spMk id="44" creationId="{3210289D-7830-D5EE-AF14-3E40277EFC93}"/>
          </ac:spMkLst>
        </pc:spChg>
        <pc:spChg chg="add mod topLvl">
          <ac:chgData name="Daniel Cole" userId="f20a75f9320a1647" providerId="LiveId" clId="{373200CA-EA42-426C-A8E4-F81830494491}" dt="2024-10-11T21:10:14.949" v="6307" actId="164"/>
          <ac:spMkLst>
            <pc:docMk/>
            <pc:sldMk cId="160860262" sldId="2147472874"/>
            <ac:spMk id="45" creationId="{1107BF86-8A84-5457-F59C-33463CD9E6A9}"/>
          </ac:spMkLst>
        </pc:spChg>
        <pc:spChg chg="add del mod">
          <ac:chgData name="Daniel Cole" userId="f20a75f9320a1647" providerId="LiveId" clId="{373200CA-EA42-426C-A8E4-F81830494491}" dt="2024-10-11T15:05:28.032" v="3147" actId="478"/>
          <ac:spMkLst>
            <pc:docMk/>
            <pc:sldMk cId="160860262" sldId="2147472874"/>
            <ac:spMk id="53" creationId="{B8F12EE5-6BC0-6626-C127-FFD4045D7EF4}"/>
          </ac:spMkLst>
        </pc:spChg>
        <pc:spChg chg="add del mod">
          <ac:chgData name="Daniel Cole" userId="f20a75f9320a1647" providerId="LiveId" clId="{373200CA-EA42-426C-A8E4-F81830494491}" dt="2024-10-11T15:03:52.064" v="3122" actId="478"/>
          <ac:spMkLst>
            <pc:docMk/>
            <pc:sldMk cId="160860262" sldId="2147472874"/>
            <ac:spMk id="54" creationId="{1AD5F6C9-A02D-201A-039D-44C99E2832E8}"/>
          </ac:spMkLst>
        </pc:spChg>
        <pc:spChg chg="add del mod">
          <ac:chgData name="Daniel Cole" userId="f20a75f9320a1647" providerId="LiveId" clId="{373200CA-EA42-426C-A8E4-F81830494491}" dt="2024-10-11T15:03:52.064" v="3122" actId="478"/>
          <ac:spMkLst>
            <pc:docMk/>
            <pc:sldMk cId="160860262" sldId="2147472874"/>
            <ac:spMk id="55" creationId="{D62FA031-0832-510B-8B16-31F19FFCC6A2}"/>
          </ac:spMkLst>
        </pc:spChg>
        <pc:spChg chg="add mod topLvl">
          <ac:chgData name="Daniel Cole" userId="f20a75f9320a1647" providerId="LiveId" clId="{373200CA-EA42-426C-A8E4-F81830494491}" dt="2024-10-11T21:10:14.949" v="6307" actId="164"/>
          <ac:spMkLst>
            <pc:docMk/>
            <pc:sldMk cId="160860262" sldId="2147472874"/>
            <ac:spMk id="56" creationId="{42BF0133-8745-066E-4BA6-F2BAEB92FD19}"/>
          </ac:spMkLst>
        </pc:spChg>
        <pc:spChg chg="add del mod">
          <ac:chgData name="Daniel Cole" userId="f20a75f9320a1647" providerId="LiveId" clId="{373200CA-EA42-426C-A8E4-F81830494491}" dt="2024-10-11T15:23:24.159" v="3210" actId="478"/>
          <ac:spMkLst>
            <pc:docMk/>
            <pc:sldMk cId="160860262" sldId="2147472874"/>
            <ac:spMk id="60" creationId="{ACEBA08F-1F2C-70D3-85B8-0FC7641D4EC4}"/>
          </ac:spMkLst>
        </pc:spChg>
        <pc:spChg chg="del">
          <ac:chgData name="Daniel Cole" userId="f20a75f9320a1647" providerId="LiveId" clId="{373200CA-EA42-426C-A8E4-F81830494491}" dt="2024-10-10T01:28:37.388" v="1596" actId="478"/>
          <ac:spMkLst>
            <pc:docMk/>
            <pc:sldMk cId="160860262" sldId="2147472874"/>
            <ac:spMk id="61" creationId="{BB3698D2-339F-8886-7E59-80645832DBB9}"/>
          </ac:spMkLst>
        </pc:spChg>
        <pc:spChg chg="del">
          <ac:chgData name="Daniel Cole" userId="f20a75f9320a1647" providerId="LiveId" clId="{373200CA-EA42-426C-A8E4-F81830494491}" dt="2024-10-10T01:28:37.388" v="1596" actId="478"/>
          <ac:spMkLst>
            <pc:docMk/>
            <pc:sldMk cId="160860262" sldId="2147472874"/>
            <ac:spMk id="62" creationId="{02A5C22D-920A-BE7B-65E4-19946547F9BE}"/>
          </ac:spMkLst>
        </pc:spChg>
        <pc:spChg chg="add mod">
          <ac:chgData name="Daniel Cole" userId="f20a75f9320a1647" providerId="LiveId" clId="{373200CA-EA42-426C-A8E4-F81830494491}" dt="2024-10-11T21:10:14.949" v="6307" actId="164"/>
          <ac:spMkLst>
            <pc:docMk/>
            <pc:sldMk cId="160860262" sldId="2147472874"/>
            <ac:spMk id="65" creationId="{4853B7B9-2735-9432-8018-2D5654820975}"/>
          </ac:spMkLst>
        </pc:spChg>
        <pc:spChg chg="add del mod">
          <ac:chgData name="Daniel Cole" userId="f20a75f9320a1647" providerId="LiveId" clId="{373200CA-EA42-426C-A8E4-F81830494491}" dt="2024-10-11T15:51:16.810" v="3642" actId="478"/>
          <ac:spMkLst>
            <pc:docMk/>
            <pc:sldMk cId="160860262" sldId="2147472874"/>
            <ac:spMk id="69" creationId="{FFC03752-1CCD-EE96-3F69-AE7CDC19F2F1}"/>
          </ac:spMkLst>
        </pc:spChg>
        <pc:spChg chg="add del mod">
          <ac:chgData name="Daniel Cole" userId="f20a75f9320a1647" providerId="LiveId" clId="{373200CA-EA42-426C-A8E4-F81830494491}" dt="2024-10-11T15:38:26.425" v="3375" actId="478"/>
          <ac:spMkLst>
            <pc:docMk/>
            <pc:sldMk cId="160860262" sldId="2147472874"/>
            <ac:spMk id="70" creationId="{D3D5AFFC-48FB-2AB3-6CEF-44C20EB2E586}"/>
          </ac:spMkLst>
        </pc:spChg>
        <pc:spChg chg="add del mod">
          <ac:chgData name="Daniel Cole" userId="f20a75f9320a1647" providerId="LiveId" clId="{373200CA-EA42-426C-A8E4-F81830494491}" dt="2024-10-11T15:38:55.093" v="3380"/>
          <ac:spMkLst>
            <pc:docMk/>
            <pc:sldMk cId="160860262" sldId="2147472874"/>
            <ac:spMk id="71" creationId="{867EFF17-A92E-3524-02C9-43013BA0619E}"/>
          </ac:spMkLst>
        </pc:spChg>
        <pc:spChg chg="add del mod">
          <ac:chgData name="Daniel Cole" userId="f20a75f9320a1647" providerId="LiveId" clId="{373200CA-EA42-426C-A8E4-F81830494491}" dt="2024-10-11T15:40:24.451" v="3391" actId="478"/>
          <ac:spMkLst>
            <pc:docMk/>
            <pc:sldMk cId="160860262" sldId="2147472874"/>
            <ac:spMk id="72" creationId="{BFE5B68F-C74F-8377-5C2C-ED13F2536F0E}"/>
          </ac:spMkLst>
        </pc:spChg>
        <pc:spChg chg="add mod">
          <ac:chgData name="Daniel Cole" userId="f20a75f9320a1647" providerId="LiveId" clId="{373200CA-EA42-426C-A8E4-F81830494491}" dt="2024-10-12T14:45:14.762" v="6322" actId="207"/>
          <ac:spMkLst>
            <pc:docMk/>
            <pc:sldMk cId="160860262" sldId="2147472874"/>
            <ac:spMk id="73" creationId="{2662B8B6-87E3-8C75-C1E4-EFE6D74E039C}"/>
          </ac:spMkLst>
        </pc:spChg>
        <pc:spChg chg="add mod">
          <ac:chgData name="Daniel Cole" userId="f20a75f9320a1647" providerId="LiveId" clId="{373200CA-EA42-426C-A8E4-F81830494491}" dt="2024-10-11T21:07:19.063" v="6285" actId="1036"/>
          <ac:spMkLst>
            <pc:docMk/>
            <pc:sldMk cId="160860262" sldId="2147472874"/>
            <ac:spMk id="74" creationId="{0668CEE7-411E-C45D-7AF3-30E2674C38AD}"/>
          </ac:spMkLst>
        </pc:spChg>
        <pc:spChg chg="add mod">
          <ac:chgData name="Daniel Cole" userId="f20a75f9320a1647" providerId="LiveId" clId="{373200CA-EA42-426C-A8E4-F81830494491}" dt="2024-10-12T14:45:27.249" v="6323" actId="207"/>
          <ac:spMkLst>
            <pc:docMk/>
            <pc:sldMk cId="160860262" sldId="2147472874"/>
            <ac:spMk id="75" creationId="{8BF15E83-7D4F-BD41-DD82-1F14592A93BB}"/>
          </ac:spMkLst>
        </pc:spChg>
        <pc:spChg chg="add del mod">
          <ac:chgData name="Daniel Cole" userId="f20a75f9320a1647" providerId="LiveId" clId="{373200CA-EA42-426C-A8E4-F81830494491}" dt="2024-10-11T17:01:19.184" v="5061" actId="478"/>
          <ac:spMkLst>
            <pc:docMk/>
            <pc:sldMk cId="160860262" sldId="2147472874"/>
            <ac:spMk id="76" creationId="{6FCE86B7-D2C4-00B9-5581-9335FDC9C743}"/>
          </ac:spMkLst>
        </pc:spChg>
        <pc:spChg chg="add del mod">
          <ac:chgData name="Daniel Cole" userId="f20a75f9320a1647" providerId="LiveId" clId="{373200CA-EA42-426C-A8E4-F81830494491}" dt="2024-10-12T14:46:19.639" v="6328" actId="207"/>
          <ac:spMkLst>
            <pc:docMk/>
            <pc:sldMk cId="160860262" sldId="2147472874"/>
            <ac:spMk id="77" creationId="{6C796528-C285-A8D2-024E-AF7112F957CD}"/>
          </ac:spMkLst>
        </pc:spChg>
        <pc:spChg chg="add del mod">
          <ac:chgData name="Daniel Cole" userId="f20a75f9320a1647" providerId="LiveId" clId="{373200CA-EA42-426C-A8E4-F81830494491}" dt="2024-10-11T20:21:02.405" v="5300"/>
          <ac:spMkLst>
            <pc:docMk/>
            <pc:sldMk cId="160860262" sldId="2147472874"/>
            <ac:spMk id="78" creationId="{F4521410-98FC-E62B-BFB8-E871D52FD99A}"/>
          </ac:spMkLst>
        </pc:spChg>
        <pc:spChg chg="add del mod">
          <ac:chgData name="Daniel Cole" userId="f20a75f9320a1647" providerId="LiveId" clId="{373200CA-EA42-426C-A8E4-F81830494491}" dt="2024-10-11T15:59:56.417" v="3907" actId="478"/>
          <ac:spMkLst>
            <pc:docMk/>
            <pc:sldMk cId="160860262" sldId="2147472874"/>
            <ac:spMk id="79" creationId="{951E9E4F-829E-9B6C-417C-FE0AC15B2FBC}"/>
          </ac:spMkLst>
        </pc:spChg>
        <pc:spChg chg="add del mod">
          <ac:chgData name="Daniel Cole" userId="f20a75f9320a1647" providerId="LiveId" clId="{373200CA-EA42-426C-A8E4-F81830494491}" dt="2024-10-11T16:01:50.368" v="3979" actId="478"/>
          <ac:spMkLst>
            <pc:docMk/>
            <pc:sldMk cId="160860262" sldId="2147472874"/>
            <ac:spMk id="80" creationId="{0C757310-3D05-DA37-31B4-34E3AADEE754}"/>
          </ac:spMkLst>
        </pc:spChg>
        <pc:spChg chg="add del mod">
          <ac:chgData name="Daniel Cole" userId="f20a75f9320a1647" providerId="LiveId" clId="{373200CA-EA42-426C-A8E4-F81830494491}" dt="2024-10-11T16:03:15.183" v="4011" actId="478"/>
          <ac:spMkLst>
            <pc:docMk/>
            <pc:sldMk cId="160860262" sldId="2147472874"/>
            <ac:spMk id="81" creationId="{14DE494B-49A0-46C9-3255-0FA9DC1CF77C}"/>
          </ac:spMkLst>
        </pc:spChg>
        <pc:spChg chg="add del mod">
          <ac:chgData name="Daniel Cole" userId="f20a75f9320a1647" providerId="LiveId" clId="{373200CA-EA42-426C-A8E4-F81830494491}" dt="2024-10-11T16:04:06.817" v="4018" actId="478"/>
          <ac:spMkLst>
            <pc:docMk/>
            <pc:sldMk cId="160860262" sldId="2147472874"/>
            <ac:spMk id="82" creationId="{B0ED548C-3C34-CF9A-9041-A03567F4E76E}"/>
          </ac:spMkLst>
        </pc:spChg>
        <pc:spChg chg="add del mod">
          <ac:chgData name="Daniel Cole" userId="f20a75f9320a1647" providerId="LiveId" clId="{373200CA-EA42-426C-A8E4-F81830494491}" dt="2024-10-11T16:12:39.736" v="4059" actId="478"/>
          <ac:spMkLst>
            <pc:docMk/>
            <pc:sldMk cId="160860262" sldId="2147472874"/>
            <ac:spMk id="83" creationId="{08570B65-5F80-35EF-7CB3-FEAC1AF3708C}"/>
          </ac:spMkLst>
        </pc:spChg>
        <pc:spChg chg="add del mod">
          <ac:chgData name="Daniel Cole" userId="f20a75f9320a1647" providerId="LiveId" clId="{373200CA-EA42-426C-A8E4-F81830494491}" dt="2024-10-11T17:01:19.184" v="5061" actId="478"/>
          <ac:spMkLst>
            <pc:docMk/>
            <pc:sldMk cId="160860262" sldId="2147472874"/>
            <ac:spMk id="86" creationId="{4A79E912-00F8-EC75-541B-0BB757318161}"/>
          </ac:spMkLst>
        </pc:spChg>
        <pc:spChg chg="add mod">
          <ac:chgData name="Daniel Cole" userId="f20a75f9320a1647" providerId="LiveId" clId="{373200CA-EA42-426C-A8E4-F81830494491}" dt="2024-10-12T14:45:36.414" v="6324" actId="207"/>
          <ac:spMkLst>
            <pc:docMk/>
            <pc:sldMk cId="160860262" sldId="2147472874"/>
            <ac:spMk id="87" creationId="{F9EC014B-8950-1FF8-1CEC-4A74CDD8C147}"/>
          </ac:spMkLst>
        </pc:spChg>
        <pc:spChg chg="add mod">
          <ac:chgData name="Daniel Cole" userId="f20a75f9320a1647" providerId="LiveId" clId="{373200CA-EA42-426C-A8E4-F81830494491}" dt="2024-10-11T21:02:21.507" v="6223" actId="164"/>
          <ac:spMkLst>
            <pc:docMk/>
            <pc:sldMk cId="160860262" sldId="2147472874"/>
            <ac:spMk id="88" creationId="{B674BFC2-485A-5461-FDA1-D3BBE556BDDF}"/>
          </ac:spMkLst>
        </pc:spChg>
        <pc:spChg chg="add mod">
          <ac:chgData name="Daniel Cole" userId="f20a75f9320a1647" providerId="LiveId" clId="{373200CA-EA42-426C-A8E4-F81830494491}" dt="2024-10-12T14:45:42.662" v="6325" actId="207"/>
          <ac:spMkLst>
            <pc:docMk/>
            <pc:sldMk cId="160860262" sldId="2147472874"/>
            <ac:spMk id="89" creationId="{E7AB91CB-376F-A980-7D5D-4B654F5C51A0}"/>
          </ac:spMkLst>
        </pc:spChg>
        <pc:spChg chg="add del mod">
          <ac:chgData name="Daniel Cole" userId="f20a75f9320a1647" providerId="LiveId" clId="{373200CA-EA42-426C-A8E4-F81830494491}" dt="2024-10-11T20:12:27.993" v="5224" actId="478"/>
          <ac:spMkLst>
            <pc:docMk/>
            <pc:sldMk cId="160860262" sldId="2147472874"/>
            <ac:spMk id="90" creationId="{A4B63FD2-2C3F-2510-FB81-63525581F758}"/>
          </ac:spMkLst>
        </pc:spChg>
        <pc:spChg chg="add mod">
          <ac:chgData name="Daniel Cole" userId="f20a75f9320a1647" providerId="LiveId" clId="{373200CA-EA42-426C-A8E4-F81830494491}" dt="2024-10-11T21:02:21.507" v="6223" actId="164"/>
          <ac:spMkLst>
            <pc:docMk/>
            <pc:sldMk cId="160860262" sldId="2147472874"/>
            <ac:spMk id="91" creationId="{90198BAD-E8A6-E3E1-B377-A3D02B7A62DB}"/>
          </ac:spMkLst>
        </pc:spChg>
        <pc:spChg chg="add mod">
          <ac:chgData name="Daniel Cole" userId="f20a75f9320a1647" providerId="LiveId" clId="{373200CA-EA42-426C-A8E4-F81830494491}" dt="2024-10-12T14:45:56.278" v="6326" actId="207"/>
          <ac:spMkLst>
            <pc:docMk/>
            <pc:sldMk cId="160860262" sldId="2147472874"/>
            <ac:spMk id="92" creationId="{96C1D066-847A-8982-A5A9-30440D6BFE84}"/>
          </ac:spMkLst>
        </pc:spChg>
        <pc:spChg chg="add mod">
          <ac:chgData name="Daniel Cole" userId="f20a75f9320a1647" providerId="LiveId" clId="{373200CA-EA42-426C-A8E4-F81830494491}" dt="2024-10-11T21:02:21.507" v="6223" actId="164"/>
          <ac:spMkLst>
            <pc:docMk/>
            <pc:sldMk cId="160860262" sldId="2147472874"/>
            <ac:spMk id="93" creationId="{2A14A6E5-C140-771B-2DAB-15EACEFFB994}"/>
          </ac:spMkLst>
        </pc:spChg>
        <pc:spChg chg="add del mod">
          <ac:chgData name="Daniel Cole" userId="f20a75f9320a1647" providerId="LiveId" clId="{373200CA-EA42-426C-A8E4-F81830494491}" dt="2024-10-11T20:12:25.503" v="5223" actId="478"/>
          <ac:spMkLst>
            <pc:docMk/>
            <pc:sldMk cId="160860262" sldId="2147472874"/>
            <ac:spMk id="94" creationId="{D130DF9E-81AF-489C-299A-58BA9DA86603}"/>
          </ac:spMkLst>
        </pc:spChg>
        <pc:spChg chg="add del mod">
          <ac:chgData name="Daniel Cole" userId="f20a75f9320a1647" providerId="LiveId" clId="{373200CA-EA42-426C-A8E4-F81830494491}" dt="2024-10-11T20:12:25.503" v="5223" actId="478"/>
          <ac:spMkLst>
            <pc:docMk/>
            <pc:sldMk cId="160860262" sldId="2147472874"/>
            <ac:spMk id="95" creationId="{4B9AC491-713A-90F4-D67A-EEBC27A38E5B}"/>
          </ac:spMkLst>
        </pc:spChg>
        <pc:spChg chg="add mod">
          <ac:chgData name="Daniel Cole" userId="f20a75f9320a1647" providerId="LiveId" clId="{373200CA-EA42-426C-A8E4-F81830494491}" dt="2024-10-12T14:46:00.982" v="6327" actId="207"/>
          <ac:spMkLst>
            <pc:docMk/>
            <pc:sldMk cId="160860262" sldId="2147472874"/>
            <ac:spMk id="96" creationId="{7640407D-9997-710C-9DE2-3CBB5BB80041}"/>
          </ac:spMkLst>
        </pc:spChg>
        <pc:spChg chg="add mod">
          <ac:chgData name="Daniel Cole" userId="f20a75f9320a1647" providerId="LiveId" clId="{373200CA-EA42-426C-A8E4-F81830494491}" dt="2024-10-11T21:02:21.507" v="6223" actId="164"/>
          <ac:spMkLst>
            <pc:docMk/>
            <pc:sldMk cId="160860262" sldId="2147472874"/>
            <ac:spMk id="97" creationId="{9DBB904A-862D-9A1B-F9DD-1B59A0468489}"/>
          </ac:spMkLst>
        </pc:spChg>
        <pc:spChg chg="add del">
          <ac:chgData name="Daniel Cole" userId="f20a75f9320a1647" providerId="LiveId" clId="{373200CA-EA42-426C-A8E4-F81830494491}" dt="2024-10-11T17:06:32.025" v="5101" actId="11529"/>
          <ac:spMkLst>
            <pc:docMk/>
            <pc:sldMk cId="160860262" sldId="2147472874"/>
            <ac:spMk id="98" creationId="{4F886556-CAE1-B414-B5A1-BAE0C3013A4F}"/>
          </ac:spMkLst>
        </pc:spChg>
        <pc:spChg chg="add del mod">
          <ac:chgData name="Daniel Cole" userId="f20a75f9320a1647" providerId="LiveId" clId="{373200CA-EA42-426C-A8E4-F81830494491}" dt="2024-10-11T20:12:20.185" v="5222" actId="478"/>
          <ac:spMkLst>
            <pc:docMk/>
            <pc:sldMk cId="160860262" sldId="2147472874"/>
            <ac:spMk id="99" creationId="{6417AF15-705F-BCF2-8CA3-BD947780769D}"/>
          </ac:spMkLst>
        </pc:spChg>
        <pc:spChg chg="add del mod">
          <ac:chgData name="Daniel Cole" userId="f20a75f9320a1647" providerId="LiveId" clId="{373200CA-EA42-426C-A8E4-F81830494491}" dt="2024-10-11T20:12:16.433" v="5221" actId="478"/>
          <ac:spMkLst>
            <pc:docMk/>
            <pc:sldMk cId="160860262" sldId="2147472874"/>
            <ac:spMk id="100" creationId="{1BB0965B-96E2-A76F-39F2-FE20181F1DB0}"/>
          </ac:spMkLst>
        </pc:spChg>
        <pc:spChg chg="add mod">
          <ac:chgData name="Daniel Cole" userId="f20a75f9320a1647" providerId="LiveId" clId="{373200CA-EA42-426C-A8E4-F81830494491}" dt="2024-10-12T14:46:38.147" v="6330" actId="207"/>
          <ac:spMkLst>
            <pc:docMk/>
            <pc:sldMk cId="160860262" sldId="2147472874"/>
            <ac:spMk id="101" creationId="{9E454C45-F02E-1380-5645-353350A014D4}"/>
          </ac:spMkLst>
        </pc:spChg>
        <pc:spChg chg="add del mod">
          <ac:chgData name="Daniel Cole" userId="f20a75f9320a1647" providerId="LiveId" clId="{373200CA-EA42-426C-A8E4-F81830494491}" dt="2024-10-11T20:26:46.327" v="5351" actId="478"/>
          <ac:spMkLst>
            <pc:docMk/>
            <pc:sldMk cId="160860262" sldId="2147472874"/>
            <ac:spMk id="114" creationId="{0792F9A6-774A-5C83-FCBA-5FCC0AC493C4}"/>
          </ac:spMkLst>
        </pc:spChg>
        <pc:spChg chg="add mod">
          <ac:chgData name="Daniel Cole" userId="f20a75f9320a1647" providerId="LiveId" clId="{373200CA-EA42-426C-A8E4-F81830494491}" dt="2024-10-11T21:10:14.949" v="6307" actId="164"/>
          <ac:spMkLst>
            <pc:docMk/>
            <pc:sldMk cId="160860262" sldId="2147472874"/>
            <ac:spMk id="115" creationId="{9BFA461B-381E-520C-44AC-644D1E9D9164}"/>
          </ac:spMkLst>
        </pc:spChg>
        <pc:spChg chg="add del mod">
          <ac:chgData name="Daniel Cole" userId="f20a75f9320a1647" providerId="LiveId" clId="{373200CA-EA42-426C-A8E4-F81830494491}" dt="2024-10-11T20:35:18.030" v="5568" actId="478"/>
          <ac:spMkLst>
            <pc:docMk/>
            <pc:sldMk cId="160860262" sldId="2147472874"/>
            <ac:spMk id="137" creationId="{951CC6B6-C263-6328-3B07-09DB1B4D551D}"/>
          </ac:spMkLst>
        </pc:spChg>
        <pc:spChg chg="add mod">
          <ac:chgData name="Daniel Cole" userId="f20a75f9320a1647" providerId="LiveId" clId="{373200CA-EA42-426C-A8E4-F81830494491}" dt="2024-10-11T21:10:14.949" v="6307" actId="164"/>
          <ac:spMkLst>
            <pc:docMk/>
            <pc:sldMk cId="160860262" sldId="2147472874"/>
            <ac:spMk id="145" creationId="{C7F46E3C-98F4-6D3E-9F89-3E7C71F048F5}"/>
          </ac:spMkLst>
        </pc:spChg>
        <pc:spChg chg="add mod">
          <ac:chgData name="Daniel Cole" userId="f20a75f9320a1647" providerId="LiveId" clId="{373200CA-EA42-426C-A8E4-F81830494491}" dt="2024-10-12T14:46:42.676" v="6331" actId="207"/>
          <ac:spMkLst>
            <pc:docMk/>
            <pc:sldMk cId="160860262" sldId="2147472874"/>
            <ac:spMk id="146" creationId="{55DF07F4-FAE9-0BE3-B72A-1816723C7DE0}"/>
          </ac:spMkLst>
        </pc:spChg>
        <pc:spChg chg="add mod">
          <ac:chgData name="Daniel Cole" userId="f20a75f9320a1647" providerId="LiveId" clId="{373200CA-EA42-426C-A8E4-F81830494491}" dt="2024-10-12T14:46:45.806" v="6332" actId="207"/>
          <ac:spMkLst>
            <pc:docMk/>
            <pc:sldMk cId="160860262" sldId="2147472874"/>
            <ac:spMk id="147" creationId="{06C0A4F3-99EF-69AB-2E64-B45AD5105521}"/>
          </ac:spMkLst>
        </pc:spChg>
        <pc:spChg chg="add mod">
          <ac:chgData name="Daniel Cole" userId="f20a75f9320a1647" providerId="LiveId" clId="{373200CA-EA42-426C-A8E4-F81830494491}" dt="2024-10-11T21:02:21.507" v="6223" actId="164"/>
          <ac:spMkLst>
            <pc:docMk/>
            <pc:sldMk cId="160860262" sldId="2147472874"/>
            <ac:spMk id="148" creationId="{51ED8B2B-3745-D889-0A3A-301023B63458}"/>
          </ac:spMkLst>
        </pc:spChg>
        <pc:spChg chg="add mod">
          <ac:chgData name="Daniel Cole" userId="f20a75f9320a1647" providerId="LiveId" clId="{373200CA-EA42-426C-A8E4-F81830494491}" dt="2024-10-12T14:46:28.781" v="6329" actId="207"/>
          <ac:spMkLst>
            <pc:docMk/>
            <pc:sldMk cId="160860262" sldId="2147472874"/>
            <ac:spMk id="149" creationId="{895F3126-C253-0E98-9158-2CB86B53AE55}"/>
          </ac:spMkLst>
        </pc:spChg>
        <pc:spChg chg="add mod ord">
          <ac:chgData name="Daniel Cole" userId="f20a75f9320a1647" providerId="LiveId" clId="{373200CA-EA42-426C-A8E4-F81830494491}" dt="2024-10-12T14:44:45.867" v="6321" actId="208"/>
          <ac:spMkLst>
            <pc:docMk/>
            <pc:sldMk cId="160860262" sldId="2147472874"/>
            <ac:spMk id="150" creationId="{3BBA9CA0-7CA5-EA11-54DA-2D5CC9A9E87D}"/>
          </ac:spMkLst>
        </pc:spChg>
        <pc:spChg chg="add mod">
          <ac:chgData name="Daniel Cole" userId="f20a75f9320a1647" providerId="LiveId" clId="{373200CA-EA42-426C-A8E4-F81830494491}" dt="2024-10-12T16:48:56.005" v="7243" actId="14100"/>
          <ac:spMkLst>
            <pc:docMk/>
            <pc:sldMk cId="160860262" sldId="2147472874"/>
            <ac:spMk id="153" creationId="{8B05283A-D95F-9026-0B3D-004082EDDA12}"/>
          </ac:spMkLst>
        </pc:spChg>
        <pc:grpChg chg="add del mod">
          <ac:chgData name="Daniel Cole" userId="f20a75f9320a1647" providerId="LiveId" clId="{373200CA-EA42-426C-A8E4-F81830494491}" dt="2024-10-11T14:16:31.894" v="2872" actId="165"/>
          <ac:grpSpMkLst>
            <pc:docMk/>
            <pc:sldMk cId="160860262" sldId="2147472874"/>
            <ac:grpSpMk id="47" creationId="{E9FAE333-B599-E20A-3DCB-18DB1ADE2E69}"/>
          </ac:grpSpMkLst>
        </pc:grpChg>
        <pc:grpChg chg="add del mod">
          <ac:chgData name="Daniel Cole" userId="f20a75f9320a1647" providerId="LiveId" clId="{373200CA-EA42-426C-A8E4-F81830494491}" dt="2024-10-11T15:24:14.675" v="3214" actId="165"/>
          <ac:grpSpMkLst>
            <pc:docMk/>
            <pc:sldMk cId="160860262" sldId="2147472874"/>
            <ac:grpSpMk id="63" creationId="{01052C61-1D4F-0B23-7016-807833E92129}"/>
          </ac:grpSpMkLst>
        </pc:grpChg>
        <pc:grpChg chg="add mod">
          <ac:chgData name="Daniel Cole" userId="f20a75f9320a1647" providerId="LiveId" clId="{373200CA-EA42-426C-A8E4-F81830494491}" dt="2024-10-11T21:04:55.651" v="6275" actId="14100"/>
          <ac:grpSpMkLst>
            <pc:docMk/>
            <pc:sldMk cId="160860262" sldId="2147472874"/>
            <ac:grpSpMk id="151" creationId="{8E986359-5883-290A-0E33-4260EFAB2581}"/>
          </ac:grpSpMkLst>
        </pc:grpChg>
        <pc:grpChg chg="add mod">
          <ac:chgData name="Daniel Cole" userId="f20a75f9320a1647" providerId="LiveId" clId="{373200CA-EA42-426C-A8E4-F81830494491}" dt="2024-10-11T21:10:28.521" v="6320" actId="552"/>
          <ac:grpSpMkLst>
            <pc:docMk/>
            <pc:sldMk cId="160860262" sldId="2147472874"/>
            <ac:grpSpMk id="152" creationId="{088EC538-136B-8672-14CB-9025614BEC20}"/>
          </ac:grpSpMkLst>
        </pc:grpChg>
        <pc:graphicFrameChg chg="del">
          <ac:chgData name="Daniel Cole" userId="f20a75f9320a1647" providerId="LiveId" clId="{373200CA-EA42-426C-A8E4-F81830494491}" dt="2024-10-10T01:07:43.949" v="1286" actId="478"/>
          <ac:graphicFrameMkLst>
            <pc:docMk/>
            <pc:sldMk cId="160860262" sldId="2147472874"/>
            <ac:graphicFrameMk id="5" creationId="{E71E9B68-2DF6-934F-4B34-A4C70253E59C}"/>
          </ac:graphicFrameMkLst>
        </pc:graphicFrameChg>
        <pc:graphicFrameChg chg="del">
          <ac:chgData name="Daniel Cole" userId="f20a75f9320a1647" providerId="LiveId" clId="{373200CA-EA42-426C-A8E4-F81830494491}" dt="2024-10-10T01:07:43.949" v="1286" actId="478"/>
          <ac:graphicFrameMkLst>
            <pc:docMk/>
            <pc:sldMk cId="160860262" sldId="2147472874"/>
            <ac:graphicFrameMk id="46" creationId="{BF89A629-DDAF-FFE1-5FB9-FF2F5D3F467F}"/>
          </ac:graphicFrameMkLst>
        </pc:graphicFrameChg>
        <pc:picChg chg="add del mod">
          <ac:chgData name="Daniel Cole" userId="f20a75f9320a1647" providerId="LiveId" clId="{373200CA-EA42-426C-A8E4-F81830494491}" dt="2024-10-10T02:05:42.259" v="2401" actId="478"/>
          <ac:picMkLst>
            <pc:docMk/>
            <pc:sldMk cId="160860262" sldId="2147472874"/>
            <ac:picMk id="14" creationId="{DE2E51C4-1AE6-8760-6ADC-59B63469395E}"/>
          </ac:picMkLst>
        </pc:picChg>
        <pc:picChg chg="add del mod">
          <ac:chgData name="Daniel Cole" userId="f20a75f9320a1647" providerId="LiveId" clId="{373200CA-EA42-426C-A8E4-F81830494491}" dt="2024-10-10T01:40:51.458" v="2131" actId="478"/>
          <ac:picMkLst>
            <pc:docMk/>
            <pc:sldMk cId="160860262" sldId="2147472874"/>
            <ac:picMk id="15" creationId="{F952AD7A-A069-2EEB-7250-AF5554F17C0D}"/>
          </ac:picMkLst>
        </pc:picChg>
        <pc:picChg chg="add del mod">
          <ac:chgData name="Daniel Cole" userId="f20a75f9320a1647" providerId="LiveId" clId="{373200CA-EA42-426C-A8E4-F81830494491}" dt="2024-10-11T21:07:53.393" v="6286" actId="478"/>
          <ac:picMkLst>
            <pc:docMk/>
            <pc:sldMk cId="160860262" sldId="2147472874"/>
            <ac:picMk id="17" creationId="{8BDBD765-6F85-118D-9F9E-9CEDCE7AF941}"/>
          </ac:picMkLst>
        </pc:picChg>
        <pc:picChg chg="add del mod">
          <ac:chgData name="Daniel Cole" userId="f20a75f9320a1647" providerId="LiveId" clId="{373200CA-EA42-426C-A8E4-F81830494491}" dt="2024-10-10T01:45:14.060" v="2194" actId="478"/>
          <ac:picMkLst>
            <pc:docMk/>
            <pc:sldMk cId="160860262" sldId="2147472874"/>
            <ac:picMk id="18" creationId="{C5F7FBE0-A405-7E21-4FCA-6F3E5293B913}"/>
          </ac:picMkLst>
        </pc:picChg>
        <pc:picChg chg="add del mod">
          <ac:chgData name="Daniel Cole" userId="f20a75f9320a1647" providerId="LiveId" clId="{373200CA-EA42-426C-A8E4-F81830494491}" dt="2024-10-11T21:07:53.393" v="6286" actId="478"/>
          <ac:picMkLst>
            <pc:docMk/>
            <pc:sldMk cId="160860262" sldId="2147472874"/>
            <ac:picMk id="23" creationId="{3398366B-B2F4-6B0F-47CB-D8FDA549704E}"/>
          </ac:picMkLst>
        </pc:picChg>
        <pc:picChg chg="add del mod">
          <ac:chgData name="Daniel Cole" userId="f20a75f9320a1647" providerId="LiveId" clId="{373200CA-EA42-426C-A8E4-F81830494491}" dt="2024-10-11T14:09:30.199" v="2871" actId="478"/>
          <ac:picMkLst>
            <pc:docMk/>
            <pc:sldMk cId="160860262" sldId="2147472874"/>
            <ac:picMk id="48" creationId="{557C37B9-0091-C44D-4ECF-A0C1636D15A8}"/>
          </ac:picMkLst>
        </pc:picChg>
        <pc:cxnChg chg="add del mod">
          <ac:chgData name="Daniel Cole" userId="f20a75f9320a1647" providerId="LiveId" clId="{373200CA-EA42-426C-A8E4-F81830494491}" dt="2024-10-10T01:17:02.164" v="1460" actId="478"/>
          <ac:cxnSpMkLst>
            <pc:docMk/>
            <pc:sldMk cId="160860262" sldId="2147472874"/>
            <ac:cxnSpMk id="9" creationId="{26E730A5-3481-B0E1-F9F0-F845957B7456}"/>
          </ac:cxnSpMkLst>
        </pc:cxnChg>
        <pc:cxnChg chg="add del mod topLvl">
          <ac:chgData name="Daniel Cole" userId="f20a75f9320a1647" providerId="LiveId" clId="{373200CA-EA42-426C-A8E4-F81830494491}" dt="2024-10-11T14:58:41.225" v="3039" actId="478"/>
          <ac:cxnSpMkLst>
            <pc:docMk/>
            <pc:sldMk cId="160860262" sldId="2147472874"/>
            <ac:cxnSpMk id="11" creationId="{58F3A6D1-62B8-93F1-279D-527CFD787CDF}"/>
          </ac:cxnSpMkLst>
        </pc:cxnChg>
        <pc:cxnChg chg="add del mod topLvl">
          <ac:chgData name="Daniel Cole" userId="f20a75f9320a1647" providerId="LiveId" clId="{373200CA-EA42-426C-A8E4-F81830494491}" dt="2024-10-11T21:10:14.949" v="6307" actId="164"/>
          <ac:cxnSpMkLst>
            <pc:docMk/>
            <pc:sldMk cId="160860262" sldId="2147472874"/>
            <ac:cxnSpMk id="51" creationId="{3AABFD8F-8133-F812-7245-360B6116BF56}"/>
          </ac:cxnSpMkLst>
        </pc:cxnChg>
        <pc:cxnChg chg="add del mod">
          <ac:chgData name="Daniel Cole" userId="f20a75f9320a1647" providerId="LiveId" clId="{373200CA-EA42-426C-A8E4-F81830494491}" dt="2024-10-11T16:10:28.669" v="4055" actId="478"/>
          <ac:cxnSpMkLst>
            <pc:docMk/>
            <pc:sldMk cId="160860262" sldId="2147472874"/>
            <ac:cxnSpMk id="85" creationId="{9C45FF98-47F8-8BF3-26ED-7811ADB64E01}"/>
          </ac:cxnSpMkLst>
        </pc:cxnChg>
        <pc:cxnChg chg="add mod">
          <ac:chgData name="Daniel Cole" userId="f20a75f9320a1647" providerId="LiveId" clId="{373200CA-EA42-426C-A8E4-F81830494491}" dt="2024-10-11T21:10:14.949" v="6307" actId="164"/>
          <ac:cxnSpMkLst>
            <pc:docMk/>
            <pc:sldMk cId="160860262" sldId="2147472874"/>
            <ac:cxnSpMk id="103" creationId="{B4AE604D-63D4-9157-86BB-91FB7F3E82F3}"/>
          </ac:cxnSpMkLst>
        </pc:cxnChg>
        <pc:cxnChg chg="add del">
          <ac:chgData name="Daniel Cole" userId="f20a75f9320a1647" providerId="LiveId" clId="{373200CA-EA42-426C-A8E4-F81830494491}" dt="2024-10-11T20:23:19.086" v="5324" actId="478"/>
          <ac:cxnSpMkLst>
            <pc:docMk/>
            <pc:sldMk cId="160860262" sldId="2147472874"/>
            <ac:cxnSpMk id="105" creationId="{C1CC57C5-3331-4B6A-515E-7190DEA34C0E}"/>
          </ac:cxnSpMkLst>
        </pc:cxnChg>
        <pc:cxnChg chg="add del mod">
          <ac:chgData name="Daniel Cole" userId="f20a75f9320a1647" providerId="LiveId" clId="{373200CA-EA42-426C-A8E4-F81830494491}" dt="2024-10-11T20:23:53.294" v="5326" actId="11529"/>
          <ac:cxnSpMkLst>
            <pc:docMk/>
            <pc:sldMk cId="160860262" sldId="2147472874"/>
            <ac:cxnSpMk id="107" creationId="{24ADC6A3-2940-116B-F372-1FF23B5878C1}"/>
          </ac:cxnSpMkLst>
        </pc:cxnChg>
        <pc:cxnChg chg="add del">
          <ac:chgData name="Daniel Cole" userId="f20a75f9320a1647" providerId="LiveId" clId="{373200CA-EA42-426C-A8E4-F81830494491}" dt="2024-10-11T20:24:16.022" v="5328" actId="478"/>
          <ac:cxnSpMkLst>
            <pc:docMk/>
            <pc:sldMk cId="160860262" sldId="2147472874"/>
            <ac:cxnSpMk id="109" creationId="{77A6E5FD-FDA6-FB5A-54EB-D6430A3CE0EC}"/>
          </ac:cxnSpMkLst>
        </pc:cxnChg>
        <pc:cxnChg chg="add mod">
          <ac:chgData name="Daniel Cole" userId="f20a75f9320a1647" providerId="LiveId" clId="{373200CA-EA42-426C-A8E4-F81830494491}" dt="2024-10-11T21:10:14.949" v="6307" actId="164"/>
          <ac:cxnSpMkLst>
            <pc:docMk/>
            <pc:sldMk cId="160860262" sldId="2147472874"/>
            <ac:cxnSpMk id="111" creationId="{35223BBF-A456-6819-475E-8AB5BAB806E4}"/>
          </ac:cxnSpMkLst>
        </pc:cxnChg>
        <pc:cxnChg chg="add del mod">
          <ac:chgData name="Daniel Cole" userId="f20a75f9320a1647" providerId="LiveId" clId="{373200CA-EA42-426C-A8E4-F81830494491}" dt="2024-10-11T20:33:25.597" v="5559" actId="478"/>
          <ac:cxnSpMkLst>
            <pc:docMk/>
            <pc:sldMk cId="160860262" sldId="2147472874"/>
            <ac:cxnSpMk id="117" creationId="{2C896360-AE95-275F-83E0-541F4A22687C}"/>
          </ac:cxnSpMkLst>
        </pc:cxnChg>
        <pc:cxnChg chg="add del mod">
          <ac:chgData name="Daniel Cole" userId="f20a75f9320a1647" providerId="LiveId" clId="{373200CA-EA42-426C-A8E4-F81830494491}" dt="2024-10-11T20:31:00.595" v="5537" actId="11529"/>
          <ac:cxnSpMkLst>
            <pc:docMk/>
            <pc:sldMk cId="160860262" sldId="2147472874"/>
            <ac:cxnSpMk id="121" creationId="{62BE1884-9AAD-7D62-4930-A3AE2DE7E8D5}"/>
          </ac:cxnSpMkLst>
        </pc:cxnChg>
        <pc:cxnChg chg="add del mod">
          <ac:chgData name="Daniel Cole" userId="f20a75f9320a1647" providerId="LiveId" clId="{373200CA-EA42-426C-A8E4-F81830494491}" dt="2024-10-11T20:31:44.616" v="5540" actId="478"/>
          <ac:cxnSpMkLst>
            <pc:docMk/>
            <pc:sldMk cId="160860262" sldId="2147472874"/>
            <ac:cxnSpMk id="123" creationId="{6511AA7F-3B84-F072-5B83-9DE399C317AB}"/>
          </ac:cxnSpMkLst>
        </pc:cxnChg>
        <pc:cxnChg chg="add del mod">
          <ac:chgData name="Daniel Cole" userId="f20a75f9320a1647" providerId="LiveId" clId="{373200CA-EA42-426C-A8E4-F81830494491}" dt="2024-10-11T20:32:11.133" v="5543" actId="478"/>
          <ac:cxnSpMkLst>
            <pc:docMk/>
            <pc:sldMk cId="160860262" sldId="2147472874"/>
            <ac:cxnSpMk id="126" creationId="{4AD776D4-4CC2-1EE3-54F4-FF767702EA84}"/>
          </ac:cxnSpMkLst>
        </pc:cxnChg>
        <pc:cxnChg chg="add del mod">
          <ac:chgData name="Daniel Cole" userId="f20a75f9320a1647" providerId="LiveId" clId="{373200CA-EA42-426C-A8E4-F81830494491}" dt="2024-10-11T20:33:25.597" v="5559" actId="478"/>
          <ac:cxnSpMkLst>
            <pc:docMk/>
            <pc:sldMk cId="160860262" sldId="2147472874"/>
            <ac:cxnSpMk id="129" creationId="{4CC8F83C-02A5-B1C2-2120-6F2F1B72919C}"/>
          </ac:cxnSpMkLst>
        </pc:cxnChg>
        <pc:cxnChg chg="add del mod">
          <ac:chgData name="Daniel Cole" userId="f20a75f9320a1647" providerId="LiveId" clId="{373200CA-EA42-426C-A8E4-F81830494491}" dt="2024-10-11T20:34:27.125" v="5563" actId="478"/>
          <ac:cxnSpMkLst>
            <pc:docMk/>
            <pc:sldMk cId="160860262" sldId="2147472874"/>
            <ac:cxnSpMk id="132" creationId="{31F3E189-7CBF-6B47-55C0-66D2714CA143}"/>
          </ac:cxnSpMkLst>
        </pc:cxnChg>
        <pc:cxnChg chg="add del mod">
          <ac:chgData name="Daniel Cole" userId="f20a75f9320a1647" providerId="LiveId" clId="{373200CA-EA42-426C-A8E4-F81830494491}" dt="2024-10-11T20:34:54.460" v="5565" actId="478"/>
          <ac:cxnSpMkLst>
            <pc:docMk/>
            <pc:sldMk cId="160860262" sldId="2147472874"/>
            <ac:cxnSpMk id="136" creationId="{52D13377-D386-19EB-0FF9-58005BEAAF81}"/>
          </ac:cxnSpMkLst>
        </pc:cxnChg>
        <pc:cxnChg chg="add mod">
          <ac:chgData name="Daniel Cole" userId="f20a75f9320a1647" providerId="LiveId" clId="{373200CA-EA42-426C-A8E4-F81830494491}" dt="2024-10-11T21:10:14.949" v="6307" actId="164"/>
          <ac:cxnSpMkLst>
            <pc:docMk/>
            <pc:sldMk cId="160860262" sldId="2147472874"/>
            <ac:cxnSpMk id="139" creationId="{A4CD6220-6E38-9D63-04B8-D9B8F96B0343}"/>
          </ac:cxnSpMkLst>
        </pc:cxnChg>
        <pc:cxnChg chg="add mod">
          <ac:chgData name="Daniel Cole" userId="f20a75f9320a1647" providerId="LiveId" clId="{373200CA-EA42-426C-A8E4-F81830494491}" dt="2024-10-11T21:10:14.949" v="6307" actId="164"/>
          <ac:cxnSpMkLst>
            <pc:docMk/>
            <pc:sldMk cId="160860262" sldId="2147472874"/>
            <ac:cxnSpMk id="144" creationId="{96A39312-5B6F-C180-5148-27B63E497C2F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sz="1100" i="1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of respondents</a:t>
            </a:r>
          </a:p>
        </c:rich>
      </c:tx>
      <c:layout>
        <c:manualLayout>
          <c:xMode val="edge"/>
          <c:yMode val="edge"/>
          <c:x val="2.4460400473263071E-2"/>
          <c:y val="9.503785175541896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spc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gularly use</c:v>
                </c:pt>
              </c:strCache>
            </c:strRef>
          </c:tx>
          <c:spPr>
            <a:solidFill>
              <a:srgbClr val="8B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Advanced Industries</c:v>
                </c:pt>
                <c:pt idx="1">
                  <c:v>Business &amp; Legal Services</c:v>
                </c:pt>
                <c:pt idx="2">
                  <c:v>Consumer &amp; Retail</c:v>
                </c:pt>
                <c:pt idx="3">
                  <c:v>Energy &amp; Materials</c:v>
                </c:pt>
                <c:pt idx="4">
                  <c:v>Financial Services</c:v>
                </c:pt>
                <c:pt idx="5">
                  <c:v>Healthcare &amp; Pharma</c:v>
                </c:pt>
                <c:pt idx="6">
                  <c:v>Technology, Media, &amp; Telecom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32</c:v>
                </c:pt>
                <c:pt idx="1">
                  <c:v>0.36</c:v>
                </c:pt>
                <c:pt idx="2">
                  <c:v>0.3</c:v>
                </c:pt>
                <c:pt idx="3">
                  <c:v>0.28999999999999998</c:v>
                </c:pt>
                <c:pt idx="4">
                  <c:v>0.42</c:v>
                </c:pt>
                <c:pt idx="5">
                  <c:v>0.33</c:v>
                </c:pt>
                <c:pt idx="6">
                  <c:v>0.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2C9-4742-ABA6-3F599AFCC51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inimaly use</c:v>
                </c:pt>
              </c:strCache>
            </c:strRef>
          </c:tx>
          <c:spPr>
            <a:solidFill>
              <a:srgbClr val="B5373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Advanced Industries</c:v>
                </c:pt>
                <c:pt idx="1">
                  <c:v>Business &amp; Legal Services</c:v>
                </c:pt>
                <c:pt idx="2">
                  <c:v>Consumer &amp; Retail</c:v>
                </c:pt>
                <c:pt idx="3">
                  <c:v>Energy &amp; Materials</c:v>
                </c:pt>
                <c:pt idx="4">
                  <c:v>Financial Services</c:v>
                </c:pt>
                <c:pt idx="5">
                  <c:v>Healthcare &amp; Pharma</c:v>
                </c:pt>
                <c:pt idx="6">
                  <c:v>Technology, Media, &amp; Telecom</c:v>
                </c:pt>
              </c:strCache>
            </c:strRef>
          </c:cat>
          <c:val>
            <c:numRef>
              <c:f>Sheet1!$C$2:$C$8</c:f>
              <c:numCache>
                <c:formatCode>0%</c:formatCode>
                <c:ptCount val="7"/>
                <c:pt idx="0">
                  <c:v>0.47</c:v>
                </c:pt>
                <c:pt idx="1">
                  <c:v>0.41</c:v>
                </c:pt>
                <c:pt idx="2">
                  <c:v>0.4</c:v>
                </c:pt>
                <c:pt idx="3">
                  <c:v>0.5</c:v>
                </c:pt>
                <c:pt idx="4">
                  <c:v>0.41</c:v>
                </c:pt>
                <c:pt idx="5">
                  <c:v>0.45</c:v>
                </c:pt>
                <c:pt idx="6">
                  <c:v>0.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2C9-4742-ABA6-3F599AFCC51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o exposure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Advanced Industries</c:v>
                </c:pt>
                <c:pt idx="1">
                  <c:v>Business &amp; Legal Services</c:v>
                </c:pt>
                <c:pt idx="2">
                  <c:v>Consumer &amp; Retail</c:v>
                </c:pt>
                <c:pt idx="3">
                  <c:v>Energy &amp; Materials</c:v>
                </c:pt>
                <c:pt idx="4">
                  <c:v>Financial Services</c:v>
                </c:pt>
                <c:pt idx="5">
                  <c:v>Healthcare &amp; Pharma</c:v>
                </c:pt>
                <c:pt idx="6">
                  <c:v>Technology, Media, &amp; Telecom</c:v>
                </c:pt>
              </c:strCache>
            </c:strRef>
          </c:cat>
          <c:val>
            <c:numRef>
              <c:f>Sheet1!$D$2:$D$8</c:f>
              <c:numCache>
                <c:formatCode>0%</c:formatCode>
                <c:ptCount val="7"/>
                <c:pt idx="0">
                  <c:v>0.21</c:v>
                </c:pt>
                <c:pt idx="1">
                  <c:v>0.23</c:v>
                </c:pt>
                <c:pt idx="2">
                  <c:v>0.3</c:v>
                </c:pt>
                <c:pt idx="3">
                  <c:v>0.21</c:v>
                </c:pt>
                <c:pt idx="4">
                  <c:v>0.17</c:v>
                </c:pt>
                <c:pt idx="5">
                  <c:v>0.22</c:v>
                </c:pt>
                <c:pt idx="6">
                  <c:v>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2C9-4742-ABA6-3F599AFCC51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2">
                <a:tint val="5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Advanced Industries</c:v>
                </c:pt>
                <c:pt idx="1">
                  <c:v>Business &amp; Legal Services</c:v>
                </c:pt>
                <c:pt idx="2">
                  <c:v>Consumer &amp; Retail</c:v>
                </c:pt>
                <c:pt idx="3">
                  <c:v>Energy &amp; Materials</c:v>
                </c:pt>
                <c:pt idx="4">
                  <c:v>Financial Services</c:v>
                </c:pt>
                <c:pt idx="5">
                  <c:v>Healthcare &amp; Pharma</c:v>
                </c:pt>
                <c:pt idx="6">
                  <c:v>Technology, Media, &amp; Telecom</c:v>
                </c:pt>
              </c:strCache>
            </c:strRef>
          </c:cat>
          <c:val>
            <c:numRef>
              <c:f>Sheet1!$E$2:$E$8</c:f>
              <c:numCache>
                <c:formatCode>General</c:formatCode>
                <c:ptCount val="7"/>
              </c:numCache>
            </c:numRef>
          </c:val>
          <c:extLst>
            <c:ext xmlns:c16="http://schemas.microsoft.com/office/drawing/2014/chart" uri="{C3380CC4-5D6E-409C-BE32-E72D297353CC}">
              <c16:uniqueId val="{00000003-12C9-4742-ABA6-3F599AFCC51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overlap val="100"/>
        <c:axId val="1398532992"/>
        <c:axId val="1398540672"/>
      </c:barChart>
      <c:catAx>
        <c:axId val="1398532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398540672"/>
        <c:crosses val="autoZero"/>
        <c:auto val="1"/>
        <c:lblAlgn val="ctr"/>
        <c:lblOffset val="100"/>
        <c:noMultiLvlLbl val="0"/>
      </c:catAx>
      <c:valAx>
        <c:axId val="1398540672"/>
        <c:scaling>
          <c:orientation val="minMax"/>
          <c:max val="1"/>
        </c:scaling>
        <c:delete val="1"/>
        <c:axPos val="l"/>
        <c:numFmt formatCode="0%" sourceLinked="1"/>
        <c:majorTickMark val="none"/>
        <c:minorTickMark val="none"/>
        <c:tickLblPos val="nextTo"/>
        <c:crossAx val="13985329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3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050" b="0" i="1" u="none" strike="noStrike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sz="1050" i="1" dirty="0">
                <a:latin typeface="Arial" panose="020B0604020202020204" pitchFamily="34" charset="0"/>
                <a:cs typeface="Arial" panose="020B0604020202020204" pitchFamily="34" charset="0"/>
              </a:rPr>
              <a:t>CAGR for Total Shareholder Return,</a:t>
            </a:r>
            <a:r>
              <a:rPr lang="en-US" sz="1050" i="1" baseline="0" dirty="0">
                <a:latin typeface="Arial" panose="020B0604020202020204" pitchFamily="34" charset="0"/>
                <a:cs typeface="Arial" panose="020B0604020202020204" pitchFamily="34" charset="0"/>
              </a:rPr>
              <a:t> 2019 - 2023</a:t>
            </a:r>
            <a:r>
              <a:rPr lang="en-US" sz="105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c:rich>
      </c:tx>
      <c:layout>
        <c:manualLayout>
          <c:xMode val="edge"/>
          <c:yMode val="edge"/>
          <c:x val="7.375608194949747E-3"/>
          <c:y val="1.583964195923649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050" b="0" i="1" u="none" strike="noStrike" kern="1200" spc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eaders</c:v>
                </c:pt>
              </c:strCache>
            </c:strRef>
          </c:tx>
          <c:spPr>
            <a:solidFill>
              <a:srgbClr val="8B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33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Insurance</c:v>
                </c:pt>
                <c:pt idx="1">
                  <c:v>Consumer &amp; Retail</c:v>
                </c:pt>
                <c:pt idx="2">
                  <c:v>Energy &amp; Materials</c:v>
                </c:pt>
                <c:pt idx="3">
                  <c:v>Financial Services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6.1</c:v>
                </c:pt>
                <c:pt idx="1">
                  <c:v>9.4</c:v>
                </c:pt>
                <c:pt idx="2">
                  <c:v>11.6</c:v>
                </c:pt>
                <c:pt idx="3">
                  <c:v>8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6C-4E6B-8F34-4FA1A4DDD3E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aggards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33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Insurance</c:v>
                </c:pt>
                <c:pt idx="1">
                  <c:v>Consumer &amp; Retail</c:v>
                </c:pt>
                <c:pt idx="2">
                  <c:v>Energy &amp; Materials</c:v>
                </c:pt>
                <c:pt idx="3">
                  <c:v>Financial Services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1.1000000000000001</c:v>
                </c:pt>
                <c:pt idx="1">
                  <c:v>3.2</c:v>
                </c:pt>
                <c:pt idx="2">
                  <c:v>5</c:v>
                </c:pt>
                <c:pt idx="3">
                  <c:v>4.9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06C-4E6B-8F34-4FA1A4DDD3E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274623648"/>
        <c:axId val="1274628448"/>
      </c:barChart>
      <c:catAx>
        <c:axId val="12746236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274628448"/>
        <c:crosses val="autoZero"/>
        <c:auto val="1"/>
        <c:lblAlgn val="ctr"/>
        <c:lblOffset val="100"/>
        <c:noMultiLvlLbl val="0"/>
      </c:catAx>
      <c:valAx>
        <c:axId val="12746284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2746236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33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en-US" sz="133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5CCB2F-5A2B-4AA1-B1A1-E2033DA42DAC}" type="datetimeFigureOut">
              <a:rPr lang="en-US" smtClean="0"/>
              <a:t>10/1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6662C5-2B58-414E-AFB8-D6C3B20E42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7818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717EFC-3990-8EBC-1002-0081795C78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461D24-0440-9F04-FA90-647BEE9B85D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E809F2-005E-18B2-EA73-883812FF1F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6C877-8DC1-433C-9897-414F41C0E9BF}" type="datetimeFigureOut">
              <a:rPr lang="en-US" smtClean="0"/>
              <a:t>10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FF1DEF-7F02-514E-207C-BAE2074C4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9BBBD4-1DDE-F6A7-890D-CD1CB597CA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E7E3B-3FC3-4A2F-84C5-0679CB9963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44476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373016-AB28-BA19-9A88-2FC271E6BF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8AC0646-33D8-5FD0-F347-56700830E58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EECC8C-287E-DAFC-82F7-5756C616FC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6C877-8DC1-433C-9897-414F41C0E9BF}" type="datetimeFigureOut">
              <a:rPr lang="en-US" smtClean="0"/>
              <a:t>10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9108A6-9F09-809C-2BBD-F010071D1E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D10DF8-AAAF-F1A6-2DCD-D639385ADB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E7E3B-3FC3-4A2F-84C5-0679CB9963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90689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3A60E2D-6821-F46B-3F22-4F1D20A9283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4E36066-6064-F660-B545-306D1C84F08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096CD0-1CA5-6818-3D4B-C8376DECB6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6C877-8DC1-433C-9897-414F41C0E9BF}" type="datetimeFigureOut">
              <a:rPr lang="en-US" smtClean="0"/>
              <a:t>10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87586F-B242-5CB4-D434-077BD0B48C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92543C-87A0-F8F2-15B7-792A1F02C5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E7E3B-3FC3-4A2F-84C5-0679CB9963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1253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K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8919E17-A30C-1C10-86B5-32F0E9F3C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5037196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8919E17-A30C-1C10-86B5-32F0E9F3C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D1BC210-4595-4FCE-91B3-FF9F214DD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762" y="802298"/>
            <a:ext cx="11418888" cy="57626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A6323E3F-9150-4F6F-8C88-F81C3F5A7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174" y="381000"/>
            <a:ext cx="11420475" cy="485775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dirty="0"/>
              <a:t>Template - [type of slide]</a:t>
            </a: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54F5C2C-AC0A-7D7F-CF6B-2E2F672526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18941" y="6460383"/>
            <a:ext cx="5847522" cy="2406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: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428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rgbClr val="002948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571743" y="1272149"/>
            <a:ext cx="3287395" cy="39433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7983899" y="1272149"/>
            <a:ext cx="3278504" cy="4140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9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ct val="100000"/>
              </a:lnSpc>
              <a:spcBef>
                <a:spcPts val="80"/>
              </a:spcBef>
            </a:pPr>
            <a:fld id="{81D60167-4931-47E6-BA6A-407CBD079E47}" type="slidenum">
              <a:rPr spc="-35" dirty="0">
                <a:solidFill>
                  <a:srgbClr val="000000"/>
                </a:solidFill>
              </a:rPr>
              <a:t>‹#›</a:t>
            </a:fld>
            <a:endParaRPr spc="-35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6323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A21614-61FA-8FD8-EBD7-A8AC416E1F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DB66FE-9B1F-443C-11BF-DC43DE1B80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385390-8F16-6A46-C192-46984C99F7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6C877-8DC1-433C-9897-414F41C0E9BF}" type="datetimeFigureOut">
              <a:rPr lang="en-US" smtClean="0"/>
              <a:t>10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4DF396-6434-0E33-0D51-F34448C03B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CCE75F-53D2-5C65-0BFE-7E70440B1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E7E3B-3FC3-4A2F-84C5-0679CB9963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68956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D6A44B-A11C-CA98-D67A-FAD8D26CC5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9D9E1B-A3BE-EE1C-F77E-AA89CCD1F5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891BF6-5388-4AF5-535F-5F00D6DE0F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6C877-8DC1-433C-9897-414F41C0E9BF}" type="datetimeFigureOut">
              <a:rPr lang="en-US" smtClean="0"/>
              <a:t>10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1F018C-966D-2390-3D38-476077819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6618ED-435E-7CDE-41A8-20E93FDF7D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E7E3B-3FC3-4A2F-84C5-0679CB9963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6772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8B32ED-DD10-4EC9-C879-461062DEFC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CC5787-0090-4EF0-4B1B-6DA8832F08E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BB0A7E8-AF11-B6EE-0801-4CB35BA9AC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F3541BC-027C-DEAD-DCC5-97C49B58F8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6C877-8DC1-433C-9897-414F41C0E9BF}" type="datetimeFigureOut">
              <a:rPr lang="en-US" smtClean="0"/>
              <a:t>10/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8F624D-0AFC-91F2-F297-7485AD92A8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392E71-3D51-5263-7881-B9095D0253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E7E3B-3FC3-4A2F-84C5-0679CB9963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9933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C64194-54A3-7919-185D-BFA5ED033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24605C-BC4B-378D-6C1C-208580E457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E5DB963-FDED-0F9C-4E65-0A59487920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4F5428-2702-A95B-3F1E-BA80658E541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C03570E-F884-E2D2-D7E6-BECC1FC21CB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95E82D7-8531-7E17-C3DB-D518AFA317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6C877-8DC1-433C-9897-414F41C0E9BF}" type="datetimeFigureOut">
              <a:rPr lang="en-US" smtClean="0"/>
              <a:t>10/9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6F41480-5674-56C6-0569-07D9531FB3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36D0273-4B27-5677-086A-5C8057CEAE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E7E3B-3FC3-4A2F-84C5-0679CB9963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81426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0C5597-004D-9B6D-8839-3F66961CA1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4424D53-F160-A070-48E5-6B7364CC13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6C877-8DC1-433C-9897-414F41C0E9BF}" type="datetimeFigureOut">
              <a:rPr lang="en-US" smtClean="0"/>
              <a:t>10/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1FDF81-8344-7853-B3B8-91D2649592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9E5779-DAAF-76A0-9844-A9DCC9506F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E7E3B-3FC3-4A2F-84C5-0679CB9963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24738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D2BF255-4031-6B59-80EA-4B6395C3D5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6C877-8DC1-433C-9897-414F41C0E9BF}" type="datetimeFigureOut">
              <a:rPr lang="en-US" smtClean="0"/>
              <a:t>10/9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2B90908-0173-4805-5FDE-B9CAE63440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CFD9FB-04AD-46C3-7554-F123CCFD6D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E7E3B-3FC3-4A2F-84C5-0679CB9963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18712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7F1187-4AFD-E59B-00B2-53847E4CC4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D57C7B-74A3-0CE6-C56F-78BE777FD2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680240-557C-15CE-CDE4-A765632FFB6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F5C7733-CA31-CC22-433A-54C7E56A2E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6C877-8DC1-433C-9897-414F41C0E9BF}" type="datetimeFigureOut">
              <a:rPr lang="en-US" smtClean="0"/>
              <a:t>10/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366076-2B57-C1F1-D8C6-F6DEA725BF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6F7E36-7E90-020C-D7A9-A81B1D2AB1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E7E3B-3FC3-4A2F-84C5-0679CB9963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0776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6FAB8C-76F1-2585-3930-03BEA0BEDA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6A9F4A7-C17E-EE6F-FE06-08E92AA21D5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01576C-79E3-8F55-C0A0-7FACA9B379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EDA6DE6-9340-C9FF-09AF-4390C06C67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F6C877-8DC1-433C-9897-414F41C0E9BF}" type="datetimeFigureOut">
              <a:rPr lang="en-US" smtClean="0"/>
              <a:t>10/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FF0B201-C3CF-412C-695B-777350672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E16B3D-4B91-01D3-9497-ECB1B08F61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E7E3B-3FC3-4A2F-84C5-0679CB9963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87216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0D6FA41-1EED-7BFF-3872-B22CB7910C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FFFB8C-8C63-0BAD-06F2-5F41400559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FA71B4-56E3-D7C2-D94C-8A4525F3BD7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8F6C877-8DC1-433C-9897-414F41C0E9BF}" type="datetimeFigureOut">
              <a:rPr lang="en-US" smtClean="0"/>
              <a:t>10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56F3B7-F61F-6F40-CBD8-D7F8FBC686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D38616-55C8-02E8-ECA8-8FC861B9B9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8BE7E3B-3FC3-4A2F-84C5-0679CB9963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0840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7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26" Type="http://schemas.openxmlformats.org/officeDocument/2006/relationships/image" Target="../media/image27.png"/><Relationship Id="rId3" Type="http://schemas.openxmlformats.org/officeDocument/2006/relationships/image" Target="../media/image4.png"/><Relationship Id="rId21" Type="http://schemas.openxmlformats.org/officeDocument/2006/relationships/image" Target="../media/image22.png"/><Relationship Id="rId34" Type="http://schemas.openxmlformats.org/officeDocument/2006/relationships/image" Target="../media/image35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5" Type="http://schemas.openxmlformats.org/officeDocument/2006/relationships/image" Target="../media/image26.png"/><Relationship Id="rId33" Type="http://schemas.openxmlformats.org/officeDocument/2006/relationships/image" Target="../media/image34.png"/><Relationship Id="rId2" Type="http://schemas.openxmlformats.org/officeDocument/2006/relationships/image" Target="../media/image3.png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29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24" Type="http://schemas.openxmlformats.org/officeDocument/2006/relationships/image" Target="../media/image25.png"/><Relationship Id="rId32" Type="http://schemas.openxmlformats.org/officeDocument/2006/relationships/image" Target="../media/image33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23" Type="http://schemas.openxmlformats.org/officeDocument/2006/relationships/image" Target="../media/image24.png"/><Relationship Id="rId28" Type="http://schemas.openxmlformats.org/officeDocument/2006/relationships/image" Target="../media/image29.png"/><Relationship Id="rId10" Type="http://schemas.openxmlformats.org/officeDocument/2006/relationships/image" Target="../media/image11.png"/><Relationship Id="rId19" Type="http://schemas.openxmlformats.org/officeDocument/2006/relationships/image" Target="../media/image20.png"/><Relationship Id="rId31" Type="http://schemas.openxmlformats.org/officeDocument/2006/relationships/image" Target="../media/image32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Relationship Id="rId22" Type="http://schemas.openxmlformats.org/officeDocument/2006/relationships/image" Target="../media/image23.png"/><Relationship Id="rId27" Type="http://schemas.openxmlformats.org/officeDocument/2006/relationships/image" Target="../media/image28.png"/><Relationship Id="rId30" Type="http://schemas.openxmlformats.org/officeDocument/2006/relationships/image" Target="../media/image31.png"/><Relationship Id="rId35" Type="http://schemas.openxmlformats.org/officeDocument/2006/relationships/image" Target="../media/image36.png"/><Relationship Id="rId8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/>
          <p:nvPr/>
        </p:nvSpPr>
        <p:spPr>
          <a:xfrm>
            <a:off x="3869287" y="5049720"/>
            <a:ext cx="4586736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" algn="ctr">
              <a:lnSpc>
                <a:spcPct val="100000"/>
              </a:lnSpc>
              <a:spcBef>
                <a:spcPts val="100"/>
              </a:spcBef>
            </a:pPr>
            <a:r>
              <a:rPr sz="2400" spc="15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Discussion</a:t>
            </a:r>
            <a:r>
              <a:rPr sz="2400" spc="-10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sz="2400" spc="-5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Materials</a:t>
            </a:r>
            <a:r>
              <a:rPr lang="en-US" sz="2400" spc="-5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, March 2024</a:t>
            </a:r>
            <a:endParaRPr lang="en-US" spc="-135" dirty="0">
              <a:solidFill>
                <a:schemeClr val="bg2">
                  <a:lumMod val="50000"/>
                </a:schemeClr>
              </a:solidFill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5FE73E2-92EE-E0A8-E273-1EC6A8960F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19141" y="1945259"/>
            <a:ext cx="2952572" cy="2967483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1FCC2521-832B-A961-59C9-6F939DB303E5}"/>
              </a:ext>
            </a:extLst>
          </p:cNvPr>
          <p:cNvSpPr/>
          <p:nvPr/>
        </p:nvSpPr>
        <p:spPr>
          <a:xfrm>
            <a:off x="0" y="6392091"/>
            <a:ext cx="12192000" cy="465909"/>
          </a:xfrm>
          <a:prstGeom prst="rect">
            <a:avLst/>
          </a:prstGeom>
          <a:solidFill>
            <a:srgbClr val="8B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993300"/>
              </a:solidFill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95BD3B75-05DE-2A8D-F636-C76FB23628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17" imgH="318" progId="TCLayout.ActiveDocument.1">
                  <p:embed/>
                </p:oleObj>
              </mc:Choice>
              <mc:Fallback>
                <p:oleObj name="Diapositiva de think-cell" r:id="rId3" imgW="317" imgH="318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95BD3B75-05DE-2A8D-F636-C76FB23628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AutoShape 250">
            <a:extLst>
              <a:ext uri="{FF2B5EF4-FFF2-40B4-BE49-F238E27FC236}">
                <a16:creationId xmlns:a16="http://schemas.microsoft.com/office/drawing/2014/main" id="{FB039B6C-6B13-C9C1-01B5-4B361E3F66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5761" y="386589"/>
            <a:ext cx="11359675" cy="751488"/>
          </a:xfrm>
          <a:prstGeom prst="leftRightArrow">
            <a:avLst>
              <a:gd name="adj1" fmla="val 100000"/>
              <a:gd name="adj2" fmla="val 0"/>
            </a:avLst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en-US" sz="2400" spc="10" dirty="0">
                <a:solidFill>
                  <a:srgbClr val="8B0000"/>
                </a:solidFill>
                <a:latin typeface="Georgia" panose="02040502050405020303" pitchFamily="18" charset="0"/>
                <a:cs typeface="Calibri"/>
              </a:rPr>
              <a:t>When everything around your business is changing, your strategy must double-down on what you know is </a:t>
            </a:r>
            <a:r>
              <a:rPr lang="en-US" sz="2400" i="1" spc="10" dirty="0">
                <a:solidFill>
                  <a:srgbClr val="8B0000"/>
                </a:solidFill>
                <a:latin typeface="Georgia" panose="02040502050405020303" pitchFamily="18" charset="0"/>
                <a:cs typeface="Calibri"/>
              </a:rPr>
              <a:t>not</a:t>
            </a:r>
            <a:r>
              <a:rPr lang="en-US" sz="2400" spc="10" dirty="0">
                <a:solidFill>
                  <a:srgbClr val="8B0000"/>
                </a:solidFill>
                <a:latin typeface="Georgia" panose="02040502050405020303" pitchFamily="18" charset="0"/>
                <a:cs typeface="Calibri"/>
              </a:rPr>
              <a:t> going to change</a:t>
            </a:r>
          </a:p>
        </p:txBody>
      </p:sp>
      <p:grpSp>
        <p:nvGrpSpPr>
          <p:cNvPr id="24581" name="Group 24580">
            <a:extLst>
              <a:ext uri="{FF2B5EF4-FFF2-40B4-BE49-F238E27FC236}">
                <a16:creationId xmlns:a16="http://schemas.microsoft.com/office/drawing/2014/main" id="{4B632A29-0E2D-222B-4DF9-EC7F8C0B331D}"/>
              </a:ext>
            </a:extLst>
          </p:cNvPr>
          <p:cNvGrpSpPr/>
          <p:nvPr/>
        </p:nvGrpSpPr>
        <p:grpSpPr>
          <a:xfrm>
            <a:off x="385761" y="2163260"/>
            <a:ext cx="2717203" cy="4468027"/>
            <a:chOff x="385761" y="1492826"/>
            <a:chExt cx="2717203" cy="4468027"/>
          </a:xfrm>
        </p:grpSpPr>
        <p:sp>
          <p:nvSpPr>
            <p:cNvPr id="7" name="TextBox 24">
              <a:extLst>
                <a:ext uri="{FF2B5EF4-FFF2-40B4-BE49-F238E27FC236}">
                  <a16:creationId xmlns:a16="http://schemas.microsoft.com/office/drawing/2014/main" id="{C0A863D5-417D-462E-D92E-99AC9C85D56D}"/>
                </a:ext>
              </a:extLst>
            </p:cNvPr>
            <p:cNvSpPr txBox="1"/>
            <p:nvPr/>
          </p:nvSpPr>
          <p:spPr>
            <a:xfrm>
              <a:off x="385761" y="1896141"/>
              <a:ext cx="2717203" cy="40647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72000" tIns="540000" rIns="72000" bIns="0" rtlCol="0" anchor="t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b="1" i="0" dirty="0">
                  <a:solidFill>
                    <a:schemeClr val="bg2">
                      <a:lumMod val="50000"/>
                    </a:schemeClr>
                  </a:solidFill>
                  <a:effectLst/>
                  <a:latin typeface="Georgia" panose="02040502050405020303" pitchFamily="18" charset="0"/>
                </a:rPr>
                <a:t>Anchor AI offering to enduring </a:t>
              </a:r>
              <a:r>
                <a:rPr lang="en-US" sz="1200" b="1" dirty="0">
                  <a:solidFill>
                    <a:schemeClr val="bg2">
                      <a:lumMod val="50000"/>
                    </a:schemeClr>
                  </a:solidFill>
                  <a:latin typeface="Georgia" panose="02040502050405020303" pitchFamily="18" charset="0"/>
                </a:rPr>
                <a:t>h</a:t>
              </a:r>
              <a:r>
                <a:rPr lang="en-US" sz="1200" b="1" i="0" dirty="0">
                  <a:solidFill>
                    <a:schemeClr val="bg2">
                      <a:lumMod val="50000"/>
                    </a:schemeClr>
                  </a:solidFill>
                  <a:effectLst/>
                  <a:latin typeface="Georgia" panose="02040502050405020303" pitchFamily="18" charset="0"/>
                </a:rPr>
                <a:t>uman </a:t>
              </a:r>
              <a:r>
                <a:rPr lang="en-US" sz="1200" b="1" dirty="0">
                  <a:solidFill>
                    <a:schemeClr val="bg2">
                      <a:lumMod val="50000"/>
                    </a:schemeClr>
                  </a:solidFill>
                  <a:latin typeface="Georgia" panose="02040502050405020303" pitchFamily="18" charset="0"/>
                </a:rPr>
                <a:t>n</a:t>
              </a:r>
              <a:r>
                <a:rPr lang="en-US" sz="1200" b="1" i="0" dirty="0">
                  <a:solidFill>
                    <a:schemeClr val="bg2">
                      <a:lumMod val="50000"/>
                    </a:schemeClr>
                  </a:solidFill>
                  <a:effectLst/>
                  <a:latin typeface="Georgia" panose="02040502050405020303" pitchFamily="18" charset="0"/>
                </a:rPr>
                <a:t>eeds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Georgia" panose="02040502050405020303" pitchFamily="18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endParaRPr>
            </a:p>
          </p:txBody>
        </p:sp>
        <p:sp>
          <p:nvSpPr>
            <p:cNvPr id="12" name="TextBox 24">
              <a:extLst>
                <a:ext uri="{FF2B5EF4-FFF2-40B4-BE49-F238E27FC236}">
                  <a16:creationId xmlns:a16="http://schemas.microsoft.com/office/drawing/2014/main" id="{744CEE42-AB91-944C-E302-D0E12E970BB4}"/>
                </a:ext>
              </a:extLst>
            </p:cNvPr>
            <p:cNvSpPr txBox="1"/>
            <p:nvPr/>
          </p:nvSpPr>
          <p:spPr>
            <a:xfrm>
              <a:off x="385761" y="2942049"/>
              <a:ext cx="2717203" cy="2746906"/>
            </a:xfrm>
            <a:prstGeom prst="rect">
              <a:avLst/>
            </a:prstGeom>
            <a:noFill/>
          </p:spPr>
          <p:txBody>
            <a:bodyPr wrap="square" lIns="72000" tIns="0" rIns="72000" bIns="0" rtlCol="0" anchor="t">
              <a:spAutoFit/>
            </a:bodyPr>
            <a:lstStyle/>
            <a:p>
              <a:pPr algn="l"/>
              <a:r>
                <a:rPr lang="en-US" sz="1050" b="1" i="0" dirty="0">
                  <a:solidFill>
                    <a:srgbClr val="8B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Consistency and Safety:</a:t>
              </a:r>
              <a:r>
                <a:rPr lang="en-US" sz="1050" b="0" i="0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enhance reliability and trust in services</a:t>
              </a:r>
            </a:p>
            <a:p>
              <a:pPr algn="l"/>
              <a:endParaRPr lang="en-US" sz="1050" b="1" i="0" dirty="0">
                <a:solidFill>
                  <a:schemeClr val="bg2">
                    <a:lumMod val="2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l"/>
              <a:r>
                <a:rPr lang="en-US" sz="1050" b="1" i="0" dirty="0">
                  <a:solidFill>
                    <a:srgbClr val="8B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Variability and </a:t>
              </a:r>
              <a:r>
                <a:rPr lang="en-US" sz="1050" b="1" dirty="0">
                  <a:solidFill>
                    <a:srgbClr val="8B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joyment</a:t>
              </a:r>
              <a:r>
                <a:rPr lang="en-US" sz="1050" b="1" i="0" dirty="0">
                  <a:solidFill>
                    <a:srgbClr val="8B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:</a:t>
              </a:r>
              <a:r>
                <a:rPr lang="en-US" sz="1050" b="0" i="0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introduce new features that captivate attention</a:t>
              </a:r>
            </a:p>
            <a:p>
              <a:pPr algn="l"/>
              <a:endParaRPr lang="en-US" sz="1050" b="1" i="0" dirty="0">
                <a:solidFill>
                  <a:schemeClr val="bg2">
                    <a:lumMod val="2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l"/>
              <a:r>
                <a:rPr lang="en-US" sz="1050" b="1" i="0" dirty="0">
                  <a:solidFill>
                    <a:srgbClr val="8B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Status and Significance:</a:t>
              </a:r>
              <a:r>
                <a:rPr lang="en-US" sz="1050" b="0" i="0" dirty="0">
                  <a:solidFill>
                    <a:srgbClr val="8B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050" b="0" i="0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create prestige through personalized experiences</a:t>
              </a:r>
            </a:p>
            <a:p>
              <a:pPr algn="l"/>
              <a:endParaRPr lang="en-US" sz="1050" b="1" i="0" dirty="0">
                <a:solidFill>
                  <a:schemeClr val="bg2">
                    <a:lumMod val="2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l"/>
              <a:r>
                <a:rPr lang="en-US" sz="1050" b="1" dirty="0">
                  <a:solidFill>
                    <a:srgbClr val="8B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rowth and Knowledge: </a:t>
              </a:r>
              <a:r>
                <a:rPr lang="en-US" sz="1050" b="0" i="0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advance customer &amp; employee learning</a:t>
              </a:r>
            </a:p>
            <a:p>
              <a:pPr algn="l"/>
              <a:endParaRPr lang="en-US" sz="1050" b="1" i="0" dirty="0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l"/>
              <a:r>
                <a:rPr lang="en-US" sz="1050" b="1" i="0" dirty="0">
                  <a:solidFill>
                    <a:srgbClr val="8B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Connection and Self-expression:</a:t>
              </a:r>
              <a:r>
                <a:rPr lang="en-US" sz="1050" b="0" i="0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foster </a:t>
              </a:r>
              <a:r>
                <a:rPr lang="en-US" sz="105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 </a:t>
              </a:r>
              <a:r>
                <a:rPr lang="en-US" sz="1050" b="0" i="0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community around your AI brand</a:t>
              </a:r>
            </a:p>
            <a:p>
              <a:pPr algn="l"/>
              <a:endParaRPr lang="en-US" sz="1050" b="0" i="0" dirty="0">
                <a:solidFill>
                  <a:schemeClr val="bg2">
                    <a:lumMod val="2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l"/>
              <a:r>
                <a:rPr lang="en-US" sz="1050" b="1" i="0" dirty="0">
                  <a:solidFill>
                    <a:srgbClr val="8B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Contribution and Impact:</a:t>
              </a:r>
              <a:r>
                <a:rPr lang="en-US" sz="1050" b="0" i="0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empower customers &amp; employees to make an impact</a:t>
              </a:r>
            </a:p>
          </p:txBody>
        </p:sp>
        <p:sp>
          <p:nvSpPr>
            <p:cNvPr id="16" name="Elipse 15">
              <a:extLst>
                <a:ext uri="{FF2B5EF4-FFF2-40B4-BE49-F238E27FC236}">
                  <a16:creationId xmlns:a16="http://schemas.microsoft.com/office/drawing/2014/main" id="{EA832319-AA9E-EA08-A82A-75261F242EB8}"/>
                </a:ext>
              </a:extLst>
            </p:cNvPr>
            <p:cNvSpPr/>
            <p:nvPr/>
          </p:nvSpPr>
          <p:spPr>
            <a:xfrm>
              <a:off x="1323201" y="1492826"/>
              <a:ext cx="842323" cy="842322"/>
            </a:xfrm>
            <a:prstGeom prst="ellipse">
              <a:avLst/>
            </a:prstGeom>
            <a:solidFill>
              <a:srgbClr val="8B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92A15F80-C85D-1B02-C6AF-7AEA5748F3F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463419" y="1633044"/>
              <a:ext cx="544632" cy="544632"/>
            </a:xfrm>
            <a:prstGeom prst="rect">
              <a:avLst/>
            </a:prstGeom>
          </p:spPr>
        </p:pic>
      </p:grpSp>
      <p:grpSp>
        <p:nvGrpSpPr>
          <p:cNvPr id="24586" name="Group 24585">
            <a:extLst>
              <a:ext uri="{FF2B5EF4-FFF2-40B4-BE49-F238E27FC236}">
                <a16:creationId xmlns:a16="http://schemas.microsoft.com/office/drawing/2014/main" id="{05895B34-54CF-99DB-8208-0A8148A26E54}"/>
              </a:ext>
            </a:extLst>
          </p:cNvPr>
          <p:cNvGrpSpPr/>
          <p:nvPr/>
        </p:nvGrpSpPr>
        <p:grpSpPr>
          <a:xfrm>
            <a:off x="9280047" y="2163260"/>
            <a:ext cx="2717203" cy="4468027"/>
            <a:chOff x="3291614" y="1492826"/>
            <a:chExt cx="2717203" cy="4468027"/>
          </a:xfrm>
        </p:grpSpPr>
        <p:sp>
          <p:nvSpPr>
            <p:cNvPr id="8" name="TextBox 24">
              <a:extLst>
                <a:ext uri="{FF2B5EF4-FFF2-40B4-BE49-F238E27FC236}">
                  <a16:creationId xmlns:a16="http://schemas.microsoft.com/office/drawing/2014/main" id="{DB53529D-84A0-D5E5-4FE8-0DD379533373}"/>
                </a:ext>
              </a:extLst>
            </p:cNvPr>
            <p:cNvSpPr txBox="1"/>
            <p:nvPr/>
          </p:nvSpPr>
          <p:spPr>
            <a:xfrm>
              <a:off x="3291614" y="1896141"/>
              <a:ext cx="2717203" cy="40647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72000" tIns="540000" rIns="72000" bIns="0" rtlCol="0" anchor="t">
              <a:no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 i="0">
                  <a:solidFill>
                    <a:srgbClr val="8B0000"/>
                  </a:solidFill>
                  <a:effectLst/>
                  <a:latin typeface="Georgia" panose="02040502050405020303" pitchFamily="18" charset="0"/>
                </a:defRPr>
              </a:lvl1pPr>
            </a:lstStyle>
            <a:p>
              <a:r>
                <a:rPr lang="en-US" sz="1200" dirty="0">
                  <a:solidFill>
                    <a:schemeClr val="bg2">
                      <a:lumMod val="50000"/>
                    </a:schemeClr>
                  </a:solidFill>
                  <a:sym typeface="Verdana" panose="020B0604030504040204" pitchFamily="34" charset="0"/>
                </a:rPr>
                <a:t>Revenue and cost levers will always determine performance</a:t>
              </a:r>
            </a:p>
          </p:txBody>
        </p:sp>
        <p:sp>
          <p:nvSpPr>
            <p:cNvPr id="13" name="TextBox 24">
              <a:extLst>
                <a:ext uri="{FF2B5EF4-FFF2-40B4-BE49-F238E27FC236}">
                  <a16:creationId xmlns:a16="http://schemas.microsoft.com/office/drawing/2014/main" id="{A9C8693A-CF7F-A74C-C78C-2D7F78528359}"/>
                </a:ext>
              </a:extLst>
            </p:cNvPr>
            <p:cNvSpPr txBox="1"/>
            <p:nvPr/>
          </p:nvSpPr>
          <p:spPr>
            <a:xfrm>
              <a:off x="3291614" y="2942049"/>
              <a:ext cx="2717203" cy="2908489"/>
            </a:xfrm>
            <a:prstGeom prst="rect">
              <a:avLst/>
            </a:prstGeom>
            <a:noFill/>
          </p:spPr>
          <p:txBody>
            <a:bodyPr wrap="square" lIns="72000" tIns="0" rIns="72000" bIns="0" rtlCol="0" anchor="t">
              <a:spAutoFit/>
            </a:bodyPr>
            <a:lstStyle/>
            <a:p>
              <a:r>
                <a:rPr lang="en-US" sz="1050" b="1" dirty="0">
                  <a:solidFill>
                    <a:srgbClr val="8B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venue growth:</a:t>
              </a:r>
            </a:p>
            <a:p>
              <a:pPr algn="l"/>
              <a:endParaRPr lang="en-US" sz="1050" b="1" dirty="0">
                <a:solidFill>
                  <a:srgbClr val="0D0D0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50" indent="-171450">
                <a:buFont typeface="Wingdings" panose="05000000000000000000" pitchFamily="2" charset="2"/>
                <a:buChar char="Ø"/>
              </a:pPr>
              <a:r>
                <a:rPr lang="en-US" sz="105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oss-selling opportunities</a:t>
              </a:r>
            </a:p>
            <a:p>
              <a:pPr marL="171450" indent="-171450">
                <a:buFont typeface="Wingdings" panose="05000000000000000000" pitchFamily="2" charset="2"/>
                <a:buChar char="Ø"/>
              </a:pPr>
              <a:r>
                <a:rPr lang="en-US" sz="105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rket expansion</a:t>
              </a:r>
            </a:p>
            <a:p>
              <a:pPr marL="171450" indent="-171450">
                <a:buFont typeface="Wingdings" panose="05000000000000000000" pitchFamily="2" charset="2"/>
                <a:buChar char="Ø"/>
              </a:pPr>
              <a:r>
                <a:rPr lang="en-US" sz="105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icing optimization – improve demand projections</a:t>
              </a:r>
            </a:p>
            <a:p>
              <a:pPr marL="171450" indent="-171450">
                <a:buFont typeface="Wingdings" panose="05000000000000000000" pitchFamily="2" charset="2"/>
                <a:buChar char="Ø"/>
              </a:pPr>
              <a:r>
                <a:rPr lang="en-US" sz="105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w asset monetization</a:t>
              </a:r>
            </a:p>
            <a:p>
              <a:pPr marL="171450" indent="-171450" algn="l">
                <a:buFont typeface="Wingdings" panose="05000000000000000000" pitchFamily="2" charset="2"/>
                <a:buChar char="Ø"/>
              </a:pPr>
              <a:endParaRPr lang="en-US" sz="1050" b="1" i="0" dirty="0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l"/>
              <a:endParaRPr lang="en-US" sz="1050" b="1" dirty="0">
                <a:solidFill>
                  <a:srgbClr val="8B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l"/>
              <a:endParaRPr lang="en-US" sz="1050" b="1" dirty="0">
                <a:solidFill>
                  <a:srgbClr val="8B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l"/>
              <a:r>
                <a:rPr lang="en-US" sz="1050" b="1" dirty="0">
                  <a:solidFill>
                    <a:srgbClr val="8B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st-efficiency:</a:t>
              </a:r>
            </a:p>
            <a:p>
              <a:pPr algn="l"/>
              <a:endParaRPr lang="en-US" sz="1050" b="1" i="0" dirty="0">
                <a:solidFill>
                  <a:schemeClr val="bg2">
                    <a:lumMod val="2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50" indent="-171450" algn="l">
                <a:buFont typeface="Wingdings" panose="05000000000000000000" pitchFamily="2" charset="2"/>
                <a:buChar char="Ø"/>
              </a:pPr>
              <a:r>
                <a:rPr lang="en-US" sz="105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sset optimization</a:t>
              </a:r>
            </a:p>
            <a:p>
              <a:pPr marL="171450" indent="-171450" algn="l">
                <a:buFont typeface="Wingdings" panose="05000000000000000000" pitchFamily="2" charset="2"/>
                <a:buChar char="Ø"/>
              </a:pPr>
              <a:r>
                <a:rPr lang="en-US" sz="1050" b="0" i="0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Inventory optimization</a:t>
              </a:r>
            </a:p>
            <a:p>
              <a:pPr marL="171450" indent="-171450" algn="l">
                <a:buFont typeface="Wingdings" panose="05000000000000000000" pitchFamily="2" charset="2"/>
                <a:buChar char="Ø"/>
              </a:pPr>
              <a:r>
                <a:rPr lang="en-US" sz="105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rease</a:t>
              </a:r>
              <a:r>
                <a:rPr lang="en-US" sz="1050" b="0" i="0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cost of revenues</a:t>
              </a:r>
            </a:p>
            <a:p>
              <a:pPr marL="171450" indent="-171450">
                <a:buFont typeface="Wingdings" panose="05000000000000000000" pitchFamily="2" charset="2"/>
                <a:buChar char="Ø"/>
              </a:pPr>
              <a:r>
                <a:rPr lang="en-US" sz="1050" b="0" i="0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Increase employee productivity</a:t>
              </a:r>
            </a:p>
            <a:p>
              <a:pPr algn="l"/>
              <a:endParaRPr lang="en-US" sz="1050" dirty="0">
                <a:solidFill>
                  <a:srgbClr val="0D0D0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l"/>
              <a:endParaRPr lang="en-US" sz="1050" b="0" i="0" dirty="0">
                <a:solidFill>
                  <a:srgbClr val="0D0D0D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Elipse 19">
              <a:extLst>
                <a:ext uri="{FF2B5EF4-FFF2-40B4-BE49-F238E27FC236}">
                  <a16:creationId xmlns:a16="http://schemas.microsoft.com/office/drawing/2014/main" id="{EB59193A-4C34-4969-4EA0-10E66753301D}"/>
                </a:ext>
              </a:extLst>
            </p:cNvPr>
            <p:cNvSpPr/>
            <p:nvPr/>
          </p:nvSpPr>
          <p:spPr>
            <a:xfrm>
              <a:off x="4229054" y="1492826"/>
              <a:ext cx="842323" cy="842322"/>
            </a:xfrm>
            <a:prstGeom prst="ellipse">
              <a:avLst/>
            </a:prstGeom>
            <a:solidFill>
              <a:srgbClr val="8B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FBC26F49-A217-BA2F-36F5-3EFC4C6B1AC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4377899" y="1641670"/>
              <a:ext cx="544632" cy="544632"/>
            </a:xfrm>
            <a:prstGeom prst="rect">
              <a:avLst/>
            </a:prstGeom>
          </p:spPr>
        </p:pic>
      </p:grpSp>
      <p:grpSp>
        <p:nvGrpSpPr>
          <p:cNvPr id="24588" name="Group 24587">
            <a:extLst>
              <a:ext uri="{FF2B5EF4-FFF2-40B4-BE49-F238E27FC236}">
                <a16:creationId xmlns:a16="http://schemas.microsoft.com/office/drawing/2014/main" id="{F502453A-3173-AEC1-C236-6EC3609661DF}"/>
              </a:ext>
            </a:extLst>
          </p:cNvPr>
          <p:cNvGrpSpPr/>
          <p:nvPr/>
        </p:nvGrpSpPr>
        <p:grpSpPr>
          <a:xfrm>
            <a:off x="3350523" y="2163260"/>
            <a:ext cx="2717203" cy="4468027"/>
            <a:chOff x="6197467" y="1492826"/>
            <a:chExt cx="2717203" cy="4468027"/>
          </a:xfrm>
        </p:grpSpPr>
        <p:sp>
          <p:nvSpPr>
            <p:cNvPr id="9" name="TextBox 24">
              <a:extLst>
                <a:ext uri="{FF2B5EF4-FFF2-40B4-BE49-F238E27FC236}">
                  <a16:creationId xmlns:a16="http://schemas.microsoft.com/office/drawing/2014/main" id="{59534980-041B-FDBF-A35C-310C31902999}"/>
                </a:ext>
              </a:extLst>
            </p:cNvPr>
            <p:cNvSpPr txBox="1"/>
            <p:nvPr/>
          </p:nvSpPr>
          <p:spPr>
            <a:xfrm>
              <a:off x="6197467" y="1896141"/>
              <a:ext cx="2717203" cy="40647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72000" tIns="540000" rIns="72000" bIns="0" rtlCol="0" anchor="t">
              <a:no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 i="0">
                  <a:solidFill>
                    <a:srgbClr val="8B0000"/>
                  </a:solidFill>
                  <a:effectLst/>
                  <a:latin typeface="Georgia" panose="02040502050405020303" pitchFamily="18" charset="0"/>
                </a:defRPr>
              </a:lvl1pPr>
            </a:lstStyle>
            <a:p>
              <a:r>
                <a:rPr lang="en-US" sz="1200" dirty="0">
                  <a:solidFill>
                    <a:schemeClr val="bg2">
                      <a:lumMod val="50000"/>
                    </a:schemeClr>
                  </a:solidFill>
                </a:rPr>
                <a:t>Bet on the certainty of technological advancement</a:t>
              </a:r>
              <a:endParaRPr lang="en-US" sz="1200" dirty="0">
                <a:solidFill>
                  <a:schemeClr val="bg2">
                    <a:lumMod val="50000"/>
                  </a:schemeClr>
                </a:solidFill>
                <a:sym typeface="Verdana" panose="020B0604030504040204" pitchFamily="34" charset="0"/>
              </a:endParaRPr>
            </a:p>
          </p:txBody>
        </p:sp>
        <p:sp>
          <p:nvSpPr>
            <p:cNvPr id="14" name="TextBox 24">
              <a:extLst>
                <a:ext uri="{FF2B5EF4-FFF2-40B4-BE49-F238E27FC236}">
                  <a16:creationId xmlns:a16="http://schemas.microsoft.com/office/drawing/2014/main" id="{FA6FFE2C-CA99-39D8-62D9-A8D28C153043}"/>
                </a:ext>
              </a:extLst>
            </p:cNvPr>
            <p:cNvSpPr txBox="1"/>
            <p:nvPr/>
          </p:nvSpPr>
          <p:spPr>
            <a:xfrm>
              <a:off x="6197467" y="2942049"/>
              <a:ext cx="2717203" cy="2908489"/>
            </a:xfrm>
            <a:prstGeom prst="rect">
              <a:avLst/>
            </a:prstGeom>
            <a:noFill/>
          </p:spPr>
          <p:txBody>
            <a:bodyPr wrap="square" lIns="72000" tIns="0" rIns="72000" bIns="0" rtlCol="0" anchor="t">
              <a:spAutoFit/>
            </a:bodyPr>
            <a:lstStyle/>
            <a:p>
              <a:pPr algn="l"/>
              <a:r>
                <a:rPr lang="en-US" sz="1050" b="1" i="0" dirty="0">
                  <a:solidFill>
                    <a:srgbClr val="8B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Prepare for Pace</a:t>
              </a:r>
              <a:r>
                <a:rPr lang="en-US" sz="1050" dirty="0">
                  <a:solidFill>
                    <a:srgbClr val="8B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 </a:t>
              </a:r>
              <a:r>
                <a:rPr lang="en-US" sz="105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</a:t>
              </a:r>
              <a:r>
                <a:rPr lang="en-US" sz="1050" b="0" i="0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repare for a future of increasing computing power at lower cost</a:t>
              </a:r>
            </a:p>
            <a:p>
              <a:pPr algn="l"/>
              <a:endParaRPr lang="en-US" sz="105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l"/>
              <a:r>
                <a:rPr lang="en-US" sz="1050" b="1" i="0" dirty="0">
                  <a:solidFill>
                    <a:srgbClr val="8B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Define Space:</a:t>
              </a:r>
              <a:r>
                <a:rPr lang="en-US" sz="1050" b="0" i="0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AI can be </a:t>
              </a:r>
              <a:r>
                <a:rPr lang="en-US" sz="1050" b="0" i="1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anything, </a:t>
              </a:r>
              <a:r>
                <a:rPr lang="en-US" sz="1050" b="0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but it cannot be </a:t>
              </a:r>
              <a:r>
                <a:rPr lang="en-US" sz="1050" b="0" i="1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everything</a:t>
              </a:r>
            </a:p>
            <a:p>
              <a:pPr algn="l"/>
              <a:endParaRPr lang="en-US" sz="1050" i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1050" b="1" i="0" dirty="0">
                  <a:solidFill>
                    <a:srgbClr val="8B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Race:</a:t>
              </a:r>
              <a:r>
                <a:rPr lang="en-US" sz="1050" b="1" i="0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050" i="0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speed reinforces advantage against competitors – solve customer problems quickly and manage time well</a:t>
              </a:r>
            </a:p>
            <a:p>
              <a:endParaRPr lang="en-US" sz="105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1050" b="1" i="0" dirty="0">
                  <a:solidFill>
                    <a:srgbClr val="8B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Database:</a:t>
              </a:r>
              <a:r>
                <a:rPr lang="en-US" sz="1050" b="0" i="0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collect, record, analyze, format, transform – encourage open-source &amp; API usage</a:t>
              </a:r>
            </a:p>
            <a:p>
              <a:endParaRPr lang="en-US" sz="1050" b="0" i="0" dirty="0">
                <a:solidFill>
                  <a:schemeClr val="bg2">
                    <a:lumMod val="2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l"/>
              <a:r>
                <a:rPr lang="en-US" sz="1050" b="1" i="0" dirty="0">
                  <a:solidFill>
                    <a:srgbClr val="8B0000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Embrace Innovation:</a:t>
              </a:r>
              <a:r>
                <a:rPr lang="en-US" sz="1050" b="0" i="0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encourage a culture without pre-conceptions – think from an original position</a:t>
              </a:r>
            </a:p>
            <a:p>
              <a:pPr algn="l"/>
              <a:endParaRPr lang="en-US" sz="1050" b="0" i="0" dirty="0">
                <a:solidFill>
                  <a:schemeClr val="bg2">
                    <a:lumMod val="2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Elipse 20">
              <a:extLst>
                <a:ext uri="{FF2B5EF4-FFF2-40B4-BE49-F238E27FC236}">
                  <a16:creationId xmlns:a16="http://schemas.microsoft.com/office/drawing/2014/main" id="{3B215AC7-53E5-351F-D6BE-42E64B46828C}"/>
                </a:ext>
              </a:extLst>
            </p:cNvPr>
            <p:cNvSpPr/>
            <p:nvPr/>
          </p:nvSpPr>
          <p:spPr>
            <a:xfrm>
              <a:off x="7134907" y="1492826"/>
              <a:ext cx="842323" cy="842322"/>
            </a:xfrm>
            <a:prstGeom prst="ellipse">
              <a:avLst/>
            </a:prstGeom>
            <a:solidFill>
              <a:srgbClr val="8B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C79A7937-8839-A6F6-FAB3-F286B44AD97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7308508" y="1648581"/>
              <a:ext cx="495120" cy="495120"/>
            </a:xfrm>
            <a:prstGeom prst="rect">
              <a:avLst/>
            </a:prstGeom>
          </p:spPr>
        </p:pic>
      </p:grpSp>
      <p:grpSp>
        <p:nvGrpSpPr>
          <p:cNvPr id="24608" name="Group 24607">
            <a:extLst>
              <a:ext uri="{FF2B5EF4-FFF2-40B4-BE49-F238E27FC236}">
                <a16:creationId xmlns:a16="http://schemas.microsoft.com/office/drawing/2014/main" id="{44D9F0DB-7CA0-1142-19BA-46906F1D0FA4}"/>
              </a:ext>
            </a:extLst>
          </p:cNvPr>
          <p:cNvGrpSpPr/>
          <p:nvPr/>
        </p:nvGrpSpPr>
        <p:grpSpPr>
          <a:xfrm>
            <a:off x="6315285" y="2163260"/>
            <a:ext cx="2717203" cy="4468027"/>
            <a:chOff x="3291614" y="1492826"/>
            <a:chExt cx="2717203" cy="4468027"/>
          </a:xfrm>
        </p:grpSpPr>
        <p:sp>
          <p:nvSpPr>
            <p:cNvPr id="24609" name="TextBox 24">
              <a:extLst>
                <a:ext uri="{FF2B5EF4-FFF2-40B4-BE49-F238E27FC236}">
                  <a16:creationId xmlns:a16="http://schemas.microsoft.com/office/drawing/2014/main" id="{3AD4DADE-995B-2825-2FC5-71E578FA1FDB}"/>
                </a:ext>
              </a:extLst>
            </p:cNvPr>
            <p:cNvSpPr txBox="1"/>
            <p:nvPr/>
          </p:nvSpPr>
          <p:spPr>
            <a:xfrm>
              <a:off x="3291614" y="1896141"/>
              <a:ext cx="2717203" cy="406471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72000" tIns="540000" rIns="72000" bIns="0" rtlCol="0" anchor="t">
              <a:noAutofit/>
            </a:bodyPr>
            <a:lstStyle>
              <a:defPPr>
                <a:defRPr lang="en-US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1" i="0">
                  <a:solidFill>
                    <a:srgbClr val="8B0000"/>
                  </a:solidFill>
                  <a:effectLst/>
                  <a:latin typeface="Georgia" panose="02040502050405020303" pitchFamily="18" charset="0"/>
                </a:defRPr>
              </a:lvl1pPr>
            </a:lstStyle>
            <a:p>
              <a:r>
                <a:rPr lang="en-US" sz="1200" dirty="0">
                  <a:solidFill>
                    <a:schemeClr val="bg2">
                      <a:lumMod val="50000"/>
                    </a:schemeClr>
                  </a:solidFill>
                  <a:sym typeface="Verdana" panose="020B0604030504040204" pitchFamily="34" charset="0"/>
                </a:rPr>
                <a:t>Empowerment continues through information</a:t>
              </a:r>
            </a:p>
          </p:txBody>
        </p:sp>
        <p:sp>
          <p:nvSpPr>
            <p:cNvPr id="24611" name="Elipse 19">
              <a:extLst>
                <a:ext uri="{FF2B5EF4-FFF2-40B4-BE49-F238E27FC236}">
                  <a16:creationId xmlns:a16="http://schemas.microsoft.com/office/drawing/2014/main" id="{0FDCCA28-20E3-826C-2641-DD4BF1769FB6}"/>
                </a:ext>
              </a:extLst>
            </p:cNvPr>
            <p:cNvSpPr/>
            <p:nvPr/>
          </p:nvSpPr>
          <p:spPr>
            <a:xfrm>
              <a:off x="4229054" y="1492826"/>
              <a:ext cx="842323" cy="842322"/>
            </a:xfrm>
            <a:prstGeom prst="ellipse">
              <a:avLst/>
            </a:prstGeom>
            <a:solidFill>
              <a:srgbClr val="8B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4587" name="Group 24586">
            <a:extLst>
              <a:ext uri="{FF2B5EF4-FFF2-40B4-BE49-F238E27FC236}">
                <a16:creationId xmlns:a16="http://schemas.microsoft.com/office/drawing/2014/main" id="{7DE13238-22BE-391B-0329-0D3AC8D422C7}"/>
              </a:ext>
            </a:extLst>
          </p:cNvPr>
          <p:cNvGrpSpPr/>
          <p:nvPr/>
        </p:nvGrpSpPr>
        <p:grpSpPr>
          <a:xfrm>
            <a:off x="6315285" y="2324632"/>
            <a:ext cx="2717203" cy="4357922"/>
            <a:chOff x="14013181" y="2637954"/>
            <a:chExt cx="2717203" cy="4407926"/>
          </a:xfrm>
        </p:grpSpPr>
        <p:sp>
          <p:nvSpPr>
            <p:cNvPr id="15" name="TextBox 24">
              <a:extLst>
                <a:ext uri="{FF2B5EF4-FFF2-40B4-BE49-F238E27FC236}">
                  <a16:creationId xmlns:a16="http://schemas.microsoft.com/office/drawing/2014/main" id="{41BC9F32-5A6E-53A7-35A2-BAD06889DD17}"/>
                </a:ext>
              </a:extLst>
            </p:cNvPr>
            <p:cNvSpPr txBox="1"/>
            <p:nvPr/>
          </p:nvSpPr>
          <p:spPr>
            <a:xfrm>
              <a:off x="14013181" y="3940582"/>
              <a:ext cx="2717203" cy="3105298"/>
            </a:xfrm>
            <a:prstGeom prst="rect">
              <a:avLst/>
            </a:prstGeom>
            <a:noFill/>
          </p:spPr>
          <p:txBody>
            <a:bodyPr wrap="square" lIns="72000" tIns="0" rIns="72000" bIns="0" rtlCol="0" anchor="t">
              <a:spAutoFit/>
            </a:bodyPr>
            <a:lstStyle/>
            <a:p>
              <a:r>
                <a:rPr lang="en-US" sz="1050" b="1" dirty="0">
                  <a:solidFill>
                    <a:srgbClr val="8B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munication:</a:t>
              </a:r>
            </a:p>
            <a:p>
              <a:pPr marL="171450" indent="-171450">
                <a:buFont typeface="Wingdings" panose="05000000000000000000" pitchFamily="2" charset="2"/>
                <a:buChar char="Ø"/>
              </a:pPr>
              <a:endParaRPr lang="en-US" sz="105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50" indent="-171450">
                <a:buFont typeface="Wingdings" panose="05000000000000000000" pitchFamily="2" charset="2"/>
                <a:buChar char="Ø"/>
              </a:pPr>
              <a:r>
                <a:rPr lang="en-US" sz="105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istent top-down message</a:t>
              </a:r>
            </a:p>
            <a:p>
              <a:pPr marL="171450" indent="-171450">
                <a:buFont typeface="Wingdings" panose="05000000000000000000" pitchFamily="2" charset="2"/>
                <a:buChar char="Ø"/>
              </a:pPr>
              <a:r>
                <a:rPr lang="en-US" sz="105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ottom-up channel availability</a:t>
              </a:r>
            </a:p>
            <a:p>
              <a:pPr marL="171450" indent="-171450">
                <a:buFont typeface="Wingdings" panose="05000000000000000000" pitchFamily="2" charset="2"/>
                <a:buChar char="Ø"/>
              </a:pPr>
              <a:endParaRPr lang="en-US" sz="105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50" indent="-171450">
                <a:buFont typeface="Wingdings" panose="05000000000000000000" pitchFamily="2" charset="2"/>
                <a:buChar char="Ø"/>
              </a:pPr>
              <a:r>
                <a:rPr lang="en-US" sz="105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ood writing scales well – good AI prompts will come from articulate writers</a:t>
              </a:r>
            </a:p>
            <a:p>
              <a:pPr marL="171450" indent="-171450">
                <a:buFont typeface="Wingdings" panose="05000000000000000000" pitchFamily="2" charset="2"/>
                <a:buChar char="Ø"/>
              </a:pPr>
              <a:r>
                <a:rPr lang="en-US" sz="105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riting is thinking – have employees prove their understanding</a:t>
              </a:r>
            </a:p>
            <a:p>
              <a:pPr marL="171450" indent="-171450">
                <a:buFont typeface="Wingdings" panose="05000000000000000000" pitchFamily="2" charset="2"/>
                <a:buChar char="Ø"/>
              </a:pPr>
              <a:endParaRPr lang="en-US" sz="105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1050" b="1" dirty="0">
                  <a:solidFill>
                    <a:srgbClr val="8B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ep Learning:</a:t>
              </a:r>
            </a:p>
            <a:p>
              <a:pPr marL="171450" indent="-171450">
                <a:buFont typeface="Wingdings" panose="05000000000000000000" pitchFamily="2" charset="2"/>
                <a:buChar char="Ø"/>
              </a:pPr>
              <a:endParaRPr lang="en-US" sz="105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50" indent="-171450">
                <a:buFont typeface="Wingdings" panose="05000000000000000000" pitchFamily="2" charset="2"/>
                <a:buChar char="Ø"/>
              </a:pPr>
              <a:r>
                <a:rPr lang="en-US" sz="105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quire company-wide base concept understanding</a:t>
              </a:r>
            </a:p>
            <a:p>
              <a:pPr marL="171450" indent="-171450">
                <a:buFont typeface="Wingdings" panose="05000000000000000000" pitchFamily="2" charset="2"/>
                <a:buChar char="Ø"/>
              </a:pPr>
              <a:r>
                <a:rPr lang="en-US" sz="105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mote ownership of high value skills</a:t>
              </a:r>
            </a:p>
            <a:p>
              <a:pPr marL="171450" indent="-171450">
                <a:buFont typeface="Wingdings" panose="05000000000000000000" pitchFamily="2" charset="2"/>
                <a:buChar char="Ø"/>
              </a:pPr>
              <a:r>
                <a:rPr lang="en-US" sz="105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mocratize insights – do not silo teams</a:t>
              </a:r>
            </a:p>
            <a:p>
              <a:endParaRPr lang="en-US" sz="1050" b="1" dirty="0">
                <a:solidFill>
                  <a:srgbClr val="0D0D0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endParaRPr lang="en-US" sz="1050" b="1" dirty="0">
                <a:solidFill>
                  <a:srgbClr val="0D0D0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endParaRPr lang="en-US" sz="1050" b="1" dirty="0">
                <a:solidFill>
                  <a:srgbClr val="0D0D0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6D9222DC-489D-9A4D-8315-8C5A57BFA29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5124222" y="2637954"/>
              <a:ext cx="495120" cy="495120"/>
            </a:xfrm>
            <a:prstGeom prst="rect">
              <a:avLst/>
            </a:prstGeom>
          </p:spPr>
        </p:pic>
      </p:grpSp>
      <p:grpSp>
        <p:nvGrpSpPr>
          <p:cNvPr id="24613" name="Group 24612">
            <a:extLst>
              <a:ext uri="{FF2B5EF4-FFF2-40B4-BE49-F238E27FC236}">
                <a16:creationId xmlns:a16="http://schemas.microsoft.com/office/drawing/2014/main" id="{78AD89A7-A7B2-3855-2D60-2AA030EE52DA}"/>
              </a:ext>
            </a:extLst>
          </p:cNvPr>
          <p:cNvGrpSpPr/>
          <p:nvPr/>
        </p:nvGrpSpPr>
        <p:grpSpPr>
          <a:xfrm>
            <a:off x="386395" y="1376763"/>
            <a:ext cx="11359039" cy="514576"/>
            <a:chOff x="3167844" y="803024"/>
            <a:chExt cx="5493534" cy="515763"/>
          </a:xfrm>
        </p:grpSpPr>
        <p:cxnSp>
          <p:nvCxnSpPr>
            <p:cNvPr id="24614" name="AutoShape 249">
              <a:extLst>
                <a:ext uri="{FF2B5EF4-FFF2-40B4-BE49-F238E27FC236}">
                  <a16:creationId xmlns:a16="http://schemas.microsoft.com/office/drawing/2014/main" id="{E2DC8B8A-8C51-AF17-9013-C85F49E87810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3167844" y="803024"/>
              <a:ext cx="5493534" cy="0"/>
            </a:xfrm>
            <a:prstGeom prst="straightConnector1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4615" name="AutoShape 250">
              <a:extLst>
                <a:ext uri="{FF2B5EF4-FFF2-40B4-BE49-F238E27FC236}">
                  <a16:creationId xmlns:a16="http://schemas.microsoft.com/office/drawing/2014/main" id="{1D8D7BDA-9D4A-EC17-FB5B-620198289D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5726" y="1115194"/>
              <a:ext cx="1506871" cy="20359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>
                  <a:solidFill>
                    <a:schemeClr val="bg2">
                      <a:lumMod val="50000"/>
                    </a:schemeClr>
                  </a:solidFill>
                  <a:latin typeface="Georgia" panose="02040502050405020303" pitchFamily="18" charset="0"/>
                  <a:ea typeface="ＭＳ Ｐゴシック"/>
                </a:rPr>
                <a:t>Acceleras thought model for AI strategy</a:t>
              </a:r>
              <a:endParaRPr lang="en-US" sz="120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ea typeface="ＭＳ Ｐゴシック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91608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3">
            <a:extLst>
              <a:ext uri="{FF2B5EF4-FFF2-40B4-BE49-F238E27FC236}">
                <a16:creationId xmlns:a16="http://schemas.microsoft.com/office/drawing/2014/main" id="{B78FD69E-A913-AB72-7388-F9C0CDB98791}"/>
              </a:ext>
            </a:extLst>
          </p:cNvPr>
          <p:cNvSpPr txBox="1"/>
          <p:nvPr/>
        </p:nvSpPr>
        <p:spPr>
          <a:xfrm>
            <a:off x="1358899" y="2823714"/>
            <a:ext cx="7094988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4800" spc="-10" dirty="0">
                <a:solidFill>
                  <a:srgbClr val="8B0000"/>
                </a:solidFill>
                <a:latin typeface="Georgia" panose="02040502050405020303" pitchFamily="18" charset="0"/>
                <a:cs typeface="Calibri"/>
              </a:rPr>
              <a:t>Acceleras Process Detail</a:t>
            </a:r>
            <a:endParaRPr sz="4800" dirty="0">
              <a:solidFill>
                <a:srgbClr val="8B0000"/>
              </a:solidFill>
              <a:latin typeface="Georgia" panose="02040502050405020303" pitchFamily="18" charset="0"/>
              <a:cs typeface="Calibri"/>
            </a:endParaRP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4E9F585E-56D4-3165-2C7F-474DECC838ED}"/>
              </a:ext>
            </a:extLst>
          </p:cNvPr>
          <p:cNvSpPr txBox="1"/>
          <p:nvPr/>
        </p:nvSpPr>
        <p:spPr>
          <a:xfrm>
            <a:off x="1358899" y="4018801"/>
            <a:ext cx="1645557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175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S</a:t>
            </a:r>
            <a:r>
              <a:rPr sz="2400" spc="85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EC</a:t>
            </a:r>
            <a:r>
              <a:rPr sz="2400" spc="11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T</a:t>
            </a:r>
            <a:r>
              <a:rPr sz="2400" spc="25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I</a:t>
            </a:r>
            <a:r>
              <a:rPr sz="240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ON</a:t>
            </a:r>
            <a:r>
              <a:rPr sz="2400" spc="-8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 </a:t>
            </a:r>
            <a:r>
              <a:rPr lang="en-US" sz="2400" spc="-25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4</a:t>
            </a:r>
            <a:endParaRPr sz="2400" dirty="0">
              <a:solidFill>
                <a:schemeClr val="bg2">
                  <a:lumMod val="50000"/>
                </a:schemeClr>
              </a:solidFill>
              <a:latin typeface="Georgia" panose="02040502050405020303" pitchFamily="18" charset="0"/>
              <a:cs typeface="Calibri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E50727D-C2A0-6CD5-1DC9-BFB0D0E4B63C}"/>
              </a:ext>
            </a:extLst>
          </p:cNvPr>
          <p:cNvSpPr/>
          <p:nvPr/>
        </p:nvSpPr>
        <p:spPr>
          <a:xfrm>
            <a:off x="1" y="5939246"/>
            <a:ext cx="12191999" cy="217714"/>
          </a:xfrm>
          <a:prstGeom prst="rect">
            <a:avLst/>
          </a:prstGeom>
          <a:solidFill>
            <a:srgbClr val="8B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B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863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56">
            <a:extLst>
              <a:ext uri="{FF2B5EF4-FFF2-40B4-BE49-F238E27FC236}">
                <a16:creationId xmlns:a16="http://schemas.microsoft.com/office/drawing/2014/main" id="{E36F608D-9140-2F36-CDA6-A50E0BA862D8}"/>
              </a:ext>
            </a:extLst>
          </p:cNvPr>
          <p:cNvSpPr/>
          <p:nvPr/>
        </p:nvSpPr>
        <p:spPr>
          <a:xfrm>
            <a:off x="6043421" y="0"/>
            <a:ext cx="6228587" cy="6858000"/>
          </a:xfrm>
          <a:prstGeom prst="rect">
            <a:avLst/>
          </a:prstGeom>
          <a:solidFill>
            <a:srgbClr val="8B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669604" y="473482"/>
            <a:ext cx="2390614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3600" spc="-10" dirty="0">
                <a:solidFill>
                  <a:srgbClr val="8B0000"/>
                </a:solidFill>
                <a:latin typeface="Georgia" panose="02040502050405020303" pitchFamily="18" charset="0"/>
              </a:rPr>
              <a:t>Foundation</a:t>
            </a:r>
            <a:endParaRPr sz="3600" dirty="0">
              <a:solidFill>
                <a:srgbClr val="8B0000"/>
              </a:solidFill>
              <a:latin typeface="Georgia" panose="02040502050405020303" pitchFamily="18" charset="0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88064" y="2882748"/>
            <a:ext cx="5046747" cy="155106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41300" marR="5080" indent="-229235">
              <a:lnSpc>
                <a:spcPct val="100000"/>
              </a:lnSpc>
              <a:spcBef>
                <a:spcPts val="95"/>
              </a:spcBef>
              <a:buFont typeface="Arial"/>
              <a:buChar char="•"/>
              <a:tabLst>
                <a:tab pos="240665" algn="l"/>
                <a:tab pos="241300" algn="l"/>
              </a:tabLst>
            </a:pPr>
            <a:r>
              <a:rPr sz="1000" b="1" spc="1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ck-off </a:t>
            </a:r>
            <a:r>
              <a:rPr sz="1000" b="1" spc="-1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eting </a:t>
            </a:r>
            <a:r>
              <a:rPr sz="1000" spc="-2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sz="1000" spc="-1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spc="1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leras </a:t>
            </a:r>
            <a:r>
              <a:rPr sz="1000" spc="2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</a:t>
            </a:r>
            <a:r>
              <a:rPr lang="en-US" sz="1000" spc="2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 Leadership</a:t>
            </a:r>
            <a:r>
              <a:rPr sz="1000" spc="-4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000" spc="1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sz="1000" spc="1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ll-day</a:t>
            </a:r>
            <a:r>
              <a:rPr sz="1000" spc="-3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spc="2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&amp;A s</a:t>
            </a:r>
            <a:r>
              <a:rPr sz="1000" spc="2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sion on </a:t>
            </a:r>
            <a:r>
              <a:rPr sz="1000" spc="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sz="1000" spc="2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</a:t>
            </a:r>
            <a:r>
              <a:rPr sz="1000" spc="-21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000" spc="2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sz="1000" spc="-3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sz="1000" spc="-1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000" spc="1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</a:t>
            </a:r>
            <a:endParaRPr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41300" indent="-228600">
              <a:spcBef>
                <a:spcPts val="300"/>
              </a:spcBef>
              <a:buFont typeface="Arial"/>
              <a:buChar char="•"/>
              <a:tabLst>
                <a:tab pos="240665" algn="l"/>
                <a:tab pos="241300" algn="l"/>
              </a:tabLst>
            </a:pPr>
            <a:r>
              <a:rPr lang="en-US" sz="1000" b="1" spc="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ndscape Mastery Program </a:t>
            </a:r>
            <a:r>
              <a:rPr lang="en-US" sz="1000" spc="-2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US" sz="1000" spc="-3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spc="1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dership proceeds through self-guided, in-depth AI concept training</a:t>
            </a:r>
          </a:p>
          <a:p>
            <a:pPr marL="241300" indent="-228600">
              <a:spcBef>
                <a:spcPts val="300"/>
              </a:spcBef>
              <a:buFont typeface="Arial"/>
              <a:buChar char="•"/>
              <a:tabLst>
                <a:tab pos="240665" algn="l"/>
                <a:tab pos="241300" algn="l"/>
              </a:tabLst>
            </a:pPr>
            <a:r>
              <a:rPr lang="en-US" sz="1000" b="1" spc="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PI/ OKR Alignment </a:t>
            </a:r>
            <a:r>
              <a:rPr lang="en-US" sz="1000" spc="-2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US" sz="1000" spc="-3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spc="1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leras and Leadership hold</a:t>
            </a:r>
            <a:r>
              <a:rPr lang="en-US" sz="1000" spc="-2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spc="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</a:t>
            </a:r>
            <a:r>
              <a:rPr lang="en-US" sz="1000" spc="-1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</a:t>
            </a:r>
            <a:r>
              <a:rPr lang="en-US" sz="1000" spc="-2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spc="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e</a:t>
            </a:r>
            <a:r>
              <a:rPr lang="en-US" sz="1000" spc="-1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spc="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fting</a:t>
            </a:r>
            <a:r>
              <a:rPr lang="en-US" sz="1000" spc="-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spc="1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ssions for customized business frameworks</a:t>
            </a:r>
          </a:p>
          <a:p>
            <a:pPr marL="240665" marR="5080" indent="-228600">
              <a:lnSpc>
                <a:spcPct val="100000"/>
              </a:lnSpc>
              <a:spcBef>
                <a:spcPts val="300"/>
              </a:spcBef>
              <a:buFont typeface="Arial"/>
              <a:buChar char="•"/>
              <a:tabLst>
                <a:tab pos="241300" algn="l"/>
                <a:tab pos="241935" algn="l"/>
              </a:tabLst>
            </a:pPr>
            <a:r>
              <a:rPr lang="en-US" sz="1000" b="1" spc="-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ittee Formation </a:t>
            </a:r>
            <a:r>
              <a:rPr lang="en-US" sz="1000" spc="-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Acceleras will work with executive sponsor to set up a steering committee, along with a working level oversight committee</a:t>
            </a:r>
          </a:p>
          <a:p>
            <a:pPr marL="240665" marR="5080" indent="-228600">
              <a:lnSpc>
                <a:spcPct val="100000"/>
              </a:lnSpc>
              <a:spcBef>
                <a:spcPts val="300"/>
              </a:spcBef>
              <a:buFont typeface="Arial"/>
              <a:buChar char="•"/>
              <a:tabLst>
                <a:tab pos="241300" algn="l"/>
                <a:tab pos="241935" algn="l"/>
              </a:tabLst>
            </a:pPr>
            <a:endParaRPr lang="en-US" sz="1000" spc="-5" dirty="0">
              <a:solidFill>
                <a:srgbClr val="5A5B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700302" y="1711100"/>
            <a:ext cx="5041751" cy="7046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41300" marR="5715" indent="-229235">
              <a:lnSpc>
                <a:spcPct val="100000"/>
              </a:lnSpc>
              <a:spcBef>
                <a:spcPts val="95"/>
              </a:spcBef>
              <a:buFont typeface="Arial"/>
              <a:buChar char="•"/>
              <a:tabLst>
                <a:tab pos="241300" algn="l"/>
                <a:tab pos="241935" algn="l"/>
              </a:tabLst>
            </a:pPr>
            <a:r>
              <a:rPr sz="1000" spc="1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ary</a:t>
            </a:r>
            <a:r>
              <a:rPr sz="1000" spc="-1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000" spc="2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al</a:t>
            </a:r>
            <a:r>
              <a:rPr sz="1000" spc="-2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000" spc="1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sz="1000" spc="-1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000" spc="-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sz="1000" spc="-1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spc="1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leras </a:t>
            </a:r>
            <a:r>
              <a:rPr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sz="1000" spc="-2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000" spc="1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come</a:t>
            </a:r>
            <a:r>
              <a:rPr sz="1000" spc="-2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000" spc="2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</a:t>
            </a:r>
            <a:r>
              <a:rPr sz="1000" spc="-1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000" spc="1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ucated</a:t>
            </a:r>
            <a:r>
              <a:rPr sz="1000" spc="-2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000" spc="2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</a:t>
            </a:r>
            <a:r>
              <a:rPr sz="1000" spc="-1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000" spc="1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sible</a:t>
            </a:r>
            <a:r>
              <a:rPr sz="1000" spc="-2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000" spc="2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lang="en-US" sz="1000" spc="2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 your company &amp; for your company’s leadership to become as educated as possible on Gen AI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40665" marR="5080" indent="-228600">
              <a:lnSpc>
                <a:spcPct val="100000"/>
              </a:lnSpc>
              <a:spcBef>
                <a:spcPts val="300"/>
              </a:spcBef>
              <a:buFont typeface="Arial"/>
              <a:buChar char="•"/>
              <a:tabLst>
                <a:tab pos="241300" algn="l"/>
                <a:tab pos="241935" algn="l"/>
              </a:tabLst>
            </a:pPr>
            <a:r>
              <a:rPr lang="en-US" sz="1000" spc="-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ft</a:t>
            </a:r>
            <a:r>
              <a:rPr lang="en-US" sz="1000" spc="13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spc="2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en-US" sz="1000" spc="14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ine</a:t>
            </a:r>
            <a:r>
              <a:rPr lang="en-US" sz="1000" spc="15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spc="2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sz="1000" spc="14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spc="1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</a:t>
            </a:r>
            <a:r>
              <a:rPr lang="en-US" sz="1000" spc="14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spc="-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en-US" sz="1000" spc="14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spc="1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PIs &amp; OKRs across key business functions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40665" marR="6350" indent="-228600">
              <a:lnSpc>
                <a:spcPct val="100000"/>
              </a:lnSpc>
              <a:spcBef>
                <a:spcPts val="300"/>
              </a:spcBef>
              <a:buFont typeface="Arial"/>
              <a:buChar char="•"/>
              <a:tabLst>
                <a:tab pos="240665" algn="l"/>
                <a:tab pos="241300" algn="l"/>
              </a:tabLst>
            </a:pPr>
            <a:r>
              <a:rPr lang="en-US" sz="1000" spc="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blish leadership, governance, and trust</a:t>
            </a:r>
            <a:endParaRPr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2778786" y="1546510"/>
            <a:ext cx="2956025" cy="51022"/>
          </a:xfrm>
          <a:custGeom>
            <a:avLst/>
            <a:gdLst/>
            <a:ahLst/>
            <a:cxnLst/>
            <a:rect l="l" t="t" r="r" b="b"/>
            <a:pathLst>
              <a:path w="2763520">
                <a:moveTo>
                  <a:pt x="0" y="0"/>
                </a:moveTo>
                <a:lnTo>
                  <a:pt x="2763503" y="0"/>
                </a:lnTo>
              </a:path>
            </a:pathLst>
          </a:custGeom>
          <a:ln w="12192">
            <a:solidFill>
              <a:schemeClr val="bg2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664455" y="1303909"/>
            <a:ext cx="2171665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2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Phase</a:t>
            </a:r>
            <a:r>
              <a:rPr sz="2400" spc="-135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 </a:t>
            </a:r>
            <a:r>
              <a:rPr lang="en-US" sz="2400" spc="-4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o</a:t>
            </a:r>
            <a:r>
              <a:rPr sz="2400" spc="-4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verview</a:t>
            </a:r>
            <a:endParaRPr sz="2400" dirty="0">
              <a:solidFill>
                <a:schemeClr val="bg2">
                  <a:lumMod val="50000"/>
                </a:schemeClr>
              </a:solidFill>
              <a:latin typeface="Georgia" panose="02040502050405020303" pitchFamily="18" charset="0"/>
              <a:cs typeface="Calibri"/>
            </a:endParaRPr>
          </a:p>
        </p:txBody>
      </p:sp>
      <p:sp>
        <p:nvSpPr>
          <p:cNvPr id="18" name="object 18"/>
          <p:cNvSpPr/>
          <p:nvPr/>
        </p:nvSpPr>
        <p:spPr>
          <a:xfrm flipV="1">
            <a:off x="3100312" y="2697950"/>
            <a:ext cx="2635007" cy="45719"/>
          </a:xfrm>
          <a:custGeom>
            <a:avLst/>
            <a:gdLst/>
            <a:ahLst/>
            <a:cxnLst/>
            <a:rect l="l" t="t" r="r" b="b"/>
            <a:pathLst>
              <a:path w="2763520">
                <a:moveTo>
                  <a:pt x="0" y="0"/>
                </a:moveTo>
                <a:lnTo>
                  <a:pt x="2763503" y="0"/>
                </a:lnTo>
              </a:path>
            </a:pathLst>
          </a:custGeom>
          <a:ln w="12192">
            <a:solidFill>
              <a:schemeClr val="bg2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 flipV="1">
            <a:off x="2946476" y="4604866"/>
            <a:ext cx="2778744" cy="45719"/>
          </a:xfrm>
          <a:custGeom>
            <a:avLst/>
            <a:gdLst/>
            <a:ahLst/>
            <a:cxnLst/>
            <a:rect l="l" t="t" r="r" b="b"/>
            <a:pathLst>
              <a:path w="2898140">
                <a:moveTo>
                  <a:pt x="0" y="0"/>
                </a:moveTo>
                <a:lnTo>
                  <a:pt x="2897615" y="0"/>
                </a:lnTo>
              </a:path>
            </a:pathLst>
          </a:custGeom>
          <a:ln w="12191">
            <a:solidFill>
              <a:schemeClr val="bg2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10660380" y="594909"/>
            <a:ext cx="995680" cy="323215"/>
          </a:xfrm>
          <a:custGeom>
            <a:avLst/>
            <a:gdLst/>
            <a:ahLst/>
            <a:cxnLst/>
            <a:rect l="l" t="t" r="r" b="b"/>
            <a:pathLst>
              <a:path w="995679" h="323215">
                <a:moveTo>
                  <a:pt x="0" y="53848"/>
                </a:moveTo>
                <a:lnTo>
                  <a:pt x="4231" y="32886"/>
                </a:lnTo>
                <a:lnTo>
                  <a:pt x="15770" y="15770"/>
                </a:lnTo>
                <a:lnTo>
                  <a:pt x="32886" y="4231"/>
                </a:lnTo>
                <a:lnTo>
                  <a:pt x="53848" y="0"/>
                </a:lnTo>
                <a:lnTo>
                  <a:pt x="941324" y="0"/>
                </a:lnTo>
                <a:lnTo>
                  <a:pt x="962285" y="4231"/>
                </a:lnTo>
                <a:lnTo>
                  <a:pt x="979401" y="15770"/>
                </a:lnTo>
                <a:lnTo>
                  <a:pt x="990940" y="32886"/>
                </a:lnTo>
                <a:lnTo>
                  <a:pt x="995172" y="53848"/>
                </a:lnTo>
                <a:lnTo>
                  <a:pt x="995172" y="269240"/>
                </a:lnTo>
                <a:lnTo>
                  <a:pt x="990940" y="290201"/>
                </a:lnTo>
                <a:lnTo>
                  <a:pt x="979401" y="307317"/>
                </a:lnTo>
                <a:lnTo>
                  <a:pt x="962285" y="318856"/>
                </a:lnTo>
                <a:lnTo>
                  <a:pt x="941324" y="323088"/>
                </a:lnTo>
                <a:lnTo>
                  <a:pt x="53848" y="323088"/>
                </a:lnTo>
                <a:lnTo>
                  <a:pt x="32886" y="318856"/>
                </a:lnTo>
                <a:lnTo>
                  <a:pt x="15770" y="307317"/>
                </a:lnTo>
                <a:lnTo>
                  <a:pt x="4231" y="290201"/>
                </a:lnTo>
                <a:lnTo>
                  <a:pt x="0" y="269240"/>
                </a:lnTo>
                <a:lnTo>
                  <a:pt x="0" y="53848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0" name="object 30"/>
          <p:cNvGrpSpPr/>
          <p:nvPr/>
        </p:nvGrpSpPr>
        <p:grpSpPr>
          <a:xfrm>
            <a:off x="6353365" y="591121"/>
            <a:ext cx="1005205" cy="332740"/>
            <a:chOff x="6353365" y="591121"/>
            <a:chExt cx="1005205" cy="332740"/>
          </a:xfrm>
        </p:grpSpPr>
        <p:sp>
          <p:nvSpPr>
            <p:cNvPr id="31" name="object 31"/>
            <p:cNvSpPr/>
            <p:nvPr/>
          </p:nvSpPr>
          <p:spPr>
            <a:xfrm>
              <a:off x="6358128" y="595883"/>
              <a:ext cx="995680" cy="323215"/>
            </a:xfrm>
            <a:custGeom>
              <a:avLst/>
              <a:gdLst/>
              <a:ahLst/>
              <a:cxnLst/>
              <a:rect l="l" t="t" r="r" b="b"/>
              <a:pathLst>
                <a:path w="995679" h="323215">
                  <a:moveTo>
                    <a:pt x="941324" y="0"/>
                  </a:moveTo>
                  <a:lnTo>
                    <a:pt x="53848" y="0"/>
                  </a:lnTo>
                  <a:lnTo>
                    <a:pt x="32886" y="4231"/>
                  </a:lnTo>
                  <a:lnTo>
                    <a:pt x="15770" y="15770"/>
                  </a:lnTo>
                  <a:lnTo>
                    <a:pt x="4231" y="32886"/>
                  </a:lnTo>
                  <a:lnTo>
                    <a:pt x="0" y="53848"/>
                  </a:lnTo>
                  <a:lnTo>
                    <a:pt x="0" y="269240"/>
                  </a:lnTo>
                  <a:lnTo>
                    <a:pt x="4231" y="290201"/>
                  </a:lnTo>
                  <a:lnTo>
                    <a:pt x="15770" y="307317"/>
                  </a:lnTo>
                  <a:lnTo>
                    <a:pt x="32886" y="318856"/>
                  </a:lnTo>
                  <a:lnTo>
                    <a:pt x="53848" y="323088"/>
                  </a:lnTo>
                  <a:lnTo>
                    <a:pt x="941324" y="323088"/>
                  </a:lnTo>
                  <a:lnTo>
                    <a:pt x="962285" y="318856"/>
                  </a:lnTo>
                  <a:lnTo>
                    <a:pt x="979401" y="307317"/>
                  </a:lnTo>
                  <a:lnTo>
                    <a:pt x="990940" y="290201"/>
                  </a:lnTo>
                  <a:lnTo>
                    <a:pt x="995172" y="269240"/>
                  </a:lnTo>
                  <a:lnTo>
                    <a:pt x="995172" y="53848"/>
                  </a:lnTo>
                  <a:lnTo>
                    <a:pt x="990940" y="32886"/>
                  </a:lnTo>
                  <a:lnTo>
                    <a:pt x="979401" y="15770"/>
                  </a:lnTo>
                  <a:lnTo>
                    <a:pt x="962285" y="4231"/>
                  </a:lnTo>
                  <a:lnTo>
                    <a:pt x="94132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6358128" y="595883"/>
              <a:ext cx="995680" cy="323215"/>
            </a:xfrm>
            <a:custGeom>
              <a:avLst/>
              <a:gdLst/>
              <a:ahLst/>
              <a:cxnLst/>
              <a:rect l="l" t="t" r="r" b="b"/>
              <a:pathLst>
                <a:path w="995679" h="323215">
                  <a:moveTo>
                    <a:pt x="0" y="53848"/>
                  </a:moveTo>
                  <a:lnTo>
                    <a:pt x="4231" y="32886"/>
                  </a:lnTo>
                  <a:lnTo>
                    <a:pt x="15770" y="15770"/>
                  </a:lnTo>
                  <a:lnTo>
                    <a:pt x="32886" y="4231"/>
                  </a:lnTo>
                  <a:lnTo>
                    <a:pt x="53848" y="0"/>
                  </a:lnTo>
                  <a:lnTo>
                    <a:pt x="941324" y="0"/>
                  </a:lnTo>
                  <a:lnTo>
                    <a:pt x="962285" y="4231"/>
                  </a:lnTo>
                  <a:lnTo>
                    <a:pt x="979401" y="15770"/>
                  </a:lnTo>
                  <a:lnTo>
                    <a:pt x="990940" y="32886"/>
                  </a:lnTo>
                  <a:lnTo>
                    <a:pt x="995172" y="53848"/>
                  </a:lnTo>
                  <a:lnTo>
                    <a:pt x="995172" y="269240"/>
                  </a:lnTo>
                  <a:lnTo>
                    <a:pt x="990940" y="290201"/>
                  </a:lnTo>
                  <a:lnTo>
                    <a:pt x="979401" y="307317"/>
                  </a:lnTo>
                  <a:lnTo>
                    <a:pt x="962285" y="318856"/>
                  </a:lnTo>
                  <a:lnTo>
                    <a:pt x="941324" y="323088"/>
                  </a:lnTo>
                  <a:lnTo>
                    <a:pt x="53848" y="323088"/>
                  </a:lnTo>
                  <a:lnTo>
                    <a:pt x="32886" y="318856"/>
                  </a:lnTo>
                  <a:lnTo>
                    <a:pt x="15770" y="307317"/>
                  </a:lnTo>
                  <a:lnTo>
                    <a:pt x="4231" y="290201"/>
                  </a:lnTo>
                  <a:lnTo>
                    <a:pt x="0" y="269240"/>
                  </a:lnTo>
                  <a:lnTo>
                    <a:pt x="0" y="53848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3" name="object 33"/>
          <p:cNvSpPr txBox="1"/>
          <p:nvPr/>
        </p:nvSpPr>
        <p:spPr>
          <a:xfrm>
            <a:off x="6529012" y="670288"/>
            <a:ext cx="653911" cy="17440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050" spc="-5" dirty="0">
                <a:solidFill>
                  <a:srgbClr val="8B0000"/>
                </a:solidFill>
                <a:latin typeface="Calibri"/>
                <a:cs typeface="Calibri"/>
              </a:rPr>
              <a:t>Foundation</a:t>
            </a:r>
            <a:endParaRPr sz="1050" dirty="0">
              <a:solidFill>
                <a:srgbClr val="8B0000"/>
              </a:solidFill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358128" y="1764936"/>
            <a:ext cx="5297805" cy="4422775"/>
          </a:xfrm>
          <a:custGeom>
            <a:avLst/>
            <a:gdLst/>
            <a:ahLst/>
            <a:cxnLst/>
            <a:rect l="l" t="t" r="r" b="b"/>
            <a:pathLst>
              <a:path w="5297805" h="4422775">
                <a:moveTo>
                  <a:pt x="5084114" y="0"/>
                </a:moveTo>
                <a:lnTo>
                  <a:pt x="213309" y="0"/>
                </a:lnTo>
                <a:lnTo>
                  <a:pt x="164400" y="5633"/>
                </a:lnTo>
                <a:lnTo>
                  <a:pt x="119502" y="21681"/>
                </a:lnTo>
                <a:lnTo>
                  <a:pt x="79896" y="46862"/>
                </a:lnTo>
                <a:lnTo>
                  <a:pt x="46862" y="79896"/>
                </a:lnTo>
                <a:lnTo>
                  <a:pt x="21681" y="119502"/>
                </a:lnTo>
                <a:lnTo>
                  <a:pt x="5633" y="164400"/>
                </a:lnTo>
                <a:lnTo>
                  <a:pt x="0" y="213309"/>
                </a:lnTo>
                <a:lnTo>
                  <a:pt x="0" y="4209351"/>
                </a:lnTo>
                <a:lnTo>
                  <a:pt x="5633" y="4258259"/>
                </a:lnTo>
                <a:lnTo>
                  <a:pt x="21681" y="4303155"/>
                </a:lnTo>
                <a:lnTo>
                  <a:pt x="46862" y="4342759"/>
                </a:lnTo>
                <a:lnTo>
                  <a:pt x="79896" y="4375790"/>
                </a:lnTo>
                <a:lnTo>
                  <a:pt x="119502" y="4400969"/>
                </a:lnTo>
                <a:lnTo>
                  <a:pt x="164400" y="4417014"/>
                </a:lnTo>
                <a:lnTo>
                  <a:pt x="213309" y="4422648"/>
                </a:lnTo>
                <a:lnTo>
                  <a:pt x="5084114" y="4422648"/>
                </a:lnTo>
                <a:lnTo>
                  <a:pt x="5133023" y="4417014"/>
                </a:lnTo>
                <a:lnTo>
                  <a:pt x="5177921" y="4400969"/>
                </a:lnTo>
                <a:lnTo>
                  <a:pt x="5217527" y="4375790"/>
                </a:lnTo>
                <a:lnTo>
                  <a:pt x="5250561" y="4342759"/>
                </a:lnTo>
                <a:lnTo>
                  <a:pt x="5275742" y="4303155"/>
                </a:lnTo>
                <a:lnTo>
                  <a:pt x="5291790" y="4258259"/>
                </a:lnTo>
                <a:lnTo>
                  <a:pt x="5297424" y="4209351"/>
                </a:lnTo>
                <a:lnTo>
                  <a:pt x="5297424" y="213309"/>
                </a:lnTo>
                <a:lnTo>
                  <a:pt x="5291790" y="164400"/>
                </a:lnTo>
                <a:lnTo>
                  <a:pt x="5275742" y="119502"/>
                </a:lnTo>
                <a:lnTo>
                  <a:pt x="5250561" y="79896"/>
                </a:lnTo>
                <a:lnTo>
                  <a:pt x="5217527" y="46862"/>
                </a:lnTo>
                <a:lnTo>
                  <a:pt x="5177921" y="21681"/>
                </a:lnTo>
                <a:lnTo>
                  <a:pt x="5133023" y="5633"/>
                </a:lnTo>
                <a:lnTo>
                  <a:pt x="508411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object 17">
            <a:extLst>
              <a:ext uri="{FF2B5EF4-FFF2-40B4-BE49-F238E27FC236}">
                <a16:creationId xmlns:a16="http://schemas.microsoft.com/office/drawing/2014/main" id="{1CA82F21-F243-1364-7ABB-01A1F2482FE0}"/>
              </a:ext>
            </a:extLst>
          </p:cNvPr>
          <p:cNvSpPr txBox="1"/>
          <p:nvPr/>
        </p:nvSpPr>
        <p:spPr>
          <a:xfrm>
            <a:off x="664454" y="2485845"/>
            <a:ext cx="2435859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400" spc="2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Major milestones</a:t>
            </a:r>
            <a:endParaRPr sz="2400" dirty="0">
              <a:solidFill>
                <a:schemeClr val="bg2">
                  <a:lumMod val="50000"/>
                </a:schemeClr>
              </a:solidFill>
              <a:latin typeface="Georgia" panose="02040502050405020303" pitchFamily="18" charset="0"/>
              <a:cs typeface="Calibri"/>
            </a:endParaRPr>
          </a:p>
        </p:txBody>
      </p:sp>
      <p:sp>
        <p:nvSpPr>
          <p:cNvPr id="59" name="object 17">
            <a:extLst>
              <a:ext uri="{FF2B5EF4-FFF2-40B4-BE49-F238E27FC236}">
                <a16:creationId xmlns:a16="http://schemas.microsoft.com/office/drawing/2014/main" id="{7B2C9430-342F-DA8B-B1CA-C59542A92DE8}"/>
              </a:ext>
            </a:extLst>
          </p:cNvPr>
          <p:cNvSpPr txBox="1"/>
          <p:nvPr/>
        </p:nvSpPr>
        <p:spPr>
          <a:xfrm>
            <a:off x="683110" y="4403350"/>
            <a:ext cx="2281464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400" spc="2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Responsibilities</a:t>
            </a:r>
            <a:endParaRPr sz="2400" dirty="0">
              <a:solidFill>
                <a:schemeClr val="bg2">
                  <a:lumMod val="50000"/>
                </a:schemeClr>
              </a:solidFill>
              <a:latin typeface="Georgia" panose="02040502050405020303" pitchFamily="18" charset="0"/>
              <a:cs typeface="Calibri"/>
            </a:endParaRPr>
          </a:p>
        </p:txBody>
      </p:sp>
      <p:sp>
        <p:nvSpPr>
          <p:cNvPr id="61" name="object 21">
            <a:extLst>
              <a:ext uri="{FF2B5EF4-FFF2-40B4-BE49-F238E27FC236}">
                <a16:creationId xmlns:a16="http://schemas.microsoft.com/office/drawing/2014/main" id="{18C4B15D-93EE-0315-4C0F-DDD9874755BB}"/>
              </a:ext>
            </a:extLst>
          </p:cNvPr>
          <p:cNvSpPr txBox="1"/>
          <p:nvPr/>
        </p:nvSpPr>
        <p:spPr>
          <a:xfrm>
            <a:off x="6345495" y="1283275"/>
            <a:ext cx="259969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400" spc="10" dirty="0">
                <a:solidFill>
                  <a:srgbClr val="FFFFFF"/>
                </a:solidFill>
                <a:latin typeface="Georgia" panose="02040502050405020303" pitchFamily="18" charset="0"/>
                <a:cs typeface="Calibri"/>
              </a:rPr>
              <a:t>Timeline</a:t>
            </a:r>
            <a:endParaRPr sz="2400" dirty="0">
              <a:latin typeface="Georgia" panose="02040502050405020303" pitchFamily="18" charset="0"/>
              <a:cs typeface="Calibri"/>
            </a:endParaRPr>
          </a:p>
        </p:txBody>
      </p:sp>
      <p:sp>
        <p:nvSpPr>
          <p:cNvPr id="69" name="object 5">
            <a:extLst>
              <a:ext uri="{FF2B5EF4-FFF2-40B4-BE49-F238E27FC236}">
                <a16:creationId xmlns:a16="http://schemas.microsoft.com/office/drawing/2014/main" id="{FADB215E-D4BD-E7FD-1A45-CA5CF6F46D33}"/>
              </a:ext>
            </a:extLst>
          </p:cNvPr>
          <p:cNvSpPr/>
          <p:nvPr/>
        </p:nvSpPr>
        <p:spPr>
          <a:xfrm flipV="1">
            <a:off x="7645371" y="1467145"/>
            <a:ext cx="4010562" cy="45719"/>
          </a:xfrm>
          <a:custGeom>
            <a:avLst/>
            <a:gdLst/>
            <a:ahLst/>
            <a:cxnLst/>
            <a:rect l="l" t="t" r="r" b="b"/>
            <a:pathLst>
              <a:path w="2672079">
                <a:moveTo>
                  <a:pt x="0" y="0"/>
                </a:moveTo>
                <a:lnTo>
                  <a:pt x="2671673" y="0"/>
                </a:lnTo>
              </a:path>
            </a:pathLst>
          </a:custGeom>
          <a:ln w="1219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11">
            <a:extLst>
              <a:ext uri="{FF2B5EF4-FFF2-40B4-BE49-F238E27FC236}">
                <a16:creationId xmlns:a16="http://schemas.microsoft.com/office/drawing/2014/main" id="{5175E2A0-D907-502A-F59D-A95EB295F4FE}"/>
              </a:ext>
            </a:extLst>
          </p:cNvPr>
          <p:cNvSpPr/>
          <p:nvPr/>
        </p:nvSpPr>
        <p:spPr>
          <a:xfrm>
            <a:off x="664454" y="4851009"/>
            <a:ext cx="2435860" cy="266700"/>
          </a:xfrm>
          <a:custGeom>
            <a:avLst/>
            <a:gdLst/>
            <a:ahLst/>
            <a:cxnLst/>
            <a:rect l="l" t="t" r="r" b="b"/>
            <a:pathLst>
              <a:path w="2435860" h="266700">
                <a:moveTo>
                  <a:pt x="2390902" y="0"/>
                </a:moveTo>
                <a:lnTo>
                  <a:pt x="44450" y="0"/>
                </a:lnTo>
                <a:lnTo>
                  <a:pt x="27148" y="3493"/>
                </a:lnTo>
                <a:lnTo>
                  <a:pt x="13019" y="13019"/>
                </a:lnTo>
                <a:lnTo>
                  <a:pt x="3493" y="27148"/>
                </a:lnTo>
                <a:lnTo>
                  <a:pt x="0" y="44450"/>
                </a:lnTo>
                <a:lnTo>
                  <a:pt x="0" y="222250"/>
                </a:lnTo>
                <a:lnTo>
                  <a:pt x="3493" y="239551"/>
                </a:lnTo>
                <a:lnTo>
                  <a:pt x="13019" y="253680"/>
                </a:lnTo>
                <a:lnTo>
                  <a:pt x="27148" y="263206"/>
                </a:lnTo>
                <a:lnTo>
                  <a:pt x="44450" y="266700"/>
                </a:lnTo>
                <a:lnTo>
                  <a:pt x="2390902" y="266700"/>
                </a:lnTo>
                <a:lnTo>
                  <a:pt x="2408203" y="263206"/>
                </a:lnTo>
                <a:lnTo>
                  <a:pt x="2422332" y="253680"/>
                </a:lnTo>
                <a:lnTo>
                  <a:pt x="2431858" y="239551"/>
                </a:lnTo>
                <a:lnTo>
                  <a:pt x="2435352" y="222250"/>
                </a:lnTo>
                <a:lnTo>
                  <a:pt x="2435352" y="44450"/>
                </a:lnTo>
                <a:lnTo>
                  <a:pt x="2431858" y="27148"/>
                </a:lnTo>
                <a:lnTo>
                  <a:pt x="2422332" y="13019"/>
                </a:lnTo>
                <a:lnTo>
                  <a:pt x="2408203" y="3493"/>
                </a:lnTo>
                <a:lnTo>
                  <a:pt x="2390902" y="0"/>
                </a:lnTo>
                <a:close/>
              </a:path>
            </a:pathLst>
          </a:custGeom>
          <a:solidFill>
            <a:srgbClr val="8B0000"/>
          </a:solidFill>
        </p:spPr>
        <p:txBody>
          <a:bodyPr wrap="square" lIns="0" tIns="0" rIns="0" bIns="0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 Team</a:t>
            </a:r>
            <a:endParaRPr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20745295-0E11-BBAA-5BF4-F3D06EFE3CE9}"/>
              </a:ext>
            </a:extLst>
          </p:cNvPr>
          <p:cNvSpPr/>
          <p:nvPr/>
        </p:nvSpPr>
        <p:spPr>
          <a:xfrm>
            <a:off x="3309368" y="4850052"/>
            <a:ext cx="2432685" cy="266700"/>
          </a:xfrm>
          <a:custGeom>
            <a:avLst/>
            <a:gdLst/>
            <a:ahLst/>
            <a:cxnLst/>
            <a:rect l="l" t="t" r="r" b="b"/>
            <a:pathLst>
              <a:path w="2432685" h="266700">
                <a:moveTo>
                  <a:pt x="2387854" y="0"/>
                </a:moveTo>
                <a:lnTo>
                  <a:pt x="44450" y="0"/>
                </a:lnTo>
                <a:lnTo>
                  <a:pt x="27148" y="3493"/>
                </a:lnTo>
                <a:lnTo>
                  <a:pt x="13019" y="13019"/>
                </a:lnTo>
                <a:lnTo>
                  <a:pt x="3493" y="27148"/>
                </a:lnTo>
                <a:lnTo>
                  <a:pt x="0" y="44450"/>
                </a:lnTo>
                <a:lnTo>
                  <a:pt x="0" y="222250"/>
                </a:lnTo>
                <a:lnTo>
                  <a:pt x="3493" y="239551"/>
                </a:lnTo>
                <a:lnTo>
                  <a:pt x="13019" y="253680"/>
                </a:lnTo>
                <a:lnTo>
                  <a:pt x="27148" y="263206"/>
                </a:lnTo>
                <a:lnTo>
                  <a:pt x="44450" y="266700"/>
                </a:lnTo>
                <a:lnTo>
                  <a:pt x="2387854" y="266700"/>
                </a:lnTo>
                <a:lnTo>
                  <a:pt x="2405155" y="263206"/>
                </a:lnTo>
                <a:lnTo>
                  <a:pt x="2419284" y="253680"/>
                </a:lnTo>
                <a:lnTo>
                  <a:pt x="2428810" y="239551"/>
                </a:lnTo>
                <a:lnTo>
                  <a:pt x="2432304" y="222250"/>
                </a:lnTo>
                <a:lnTo>
                  <a:pt x="2432304" y="44450"/>
                </a:lnTo>
                <a:lnTo>
                  <a:pt x="2428810" y="27148"/>
                </a:lnTo>
                <a:lnTo>
                  <a:pt x="2419284" y="13019"/>
                </a:lnTo>
                <a:lnTo>
                  <a:pt x="2405155" y="3493"/>
                </a:lnTo>
                <a:lnTo>
                  <a:pt x="2387854" y="0"/>
                </a:lnTo>
                <a:close/>
              </a:path>
            </a:pathLst>
          </a:custGeom>
          <a:solidFill>
            <a:srgbClr val="8B0000"/>
          </a:solidFill>
        </p:spPr>
        <p:txBody>
          <a:bodyPr wrap="square" lIns="0" tIns="0" rIns="0" bIns="0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r Team</a:t>
            </a:r>
            <a:endParaRPr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159BDFE-CA1B-0D45-8787-6A3C4D1D277A}"/>
              </a:ext>
            </a:extLst>
          </p:cNvPr>
          <p:cNvSpPr txBox="1"/>
          <p:nvPr/>
        </p:nvSpPr>
        <p:spPr>
          <a:xfrm>
            <a:off x="595564" y="5124932"/>
            <a:ext cx="2614098" cy="1679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dership training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 vernacular &amp; concepts glossary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 maturity questionnaire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ability/ KPI/ OKR Framework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ance team &amp; structure plan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 trust guideline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en-US" sz="1000" dirty="0">
              <a:solidFill>
                <a:srgbClr val="5A5B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B453403-14DE-607B-C2EF-9EE0BBE665E5}"/>
              </a:ext>
            </a:extLst>
          </p:cNvPr>
          <p:cNvSpPr txBox="1"/>
          <p:nvPr/>
        </p:nvSpPr>
        <p:spPr>
          <a:xfrm>
            <a:off x="3309368" y="5124932"/>
            <a:ext cx="2614098" cy="13462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d to informational requests</a:t>
            </a:r>
          </a:p>
          <a:p>
            <a:pPr marL="285750" indent="-285750">
              <a:lnSpc>
                <a:spcPts val="14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e as “sounding board” for framework positioning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committee member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ve committee SOP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en-US" sz="1000" dirty="0">
              <a:solidFill>
                <a:srgbClr val="5A5B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bject 25">
            <a:extLst>
              <a:ext uri="{FF2B5EF4-FFF2-40B4-BE49-F238E27FC236}">
                <a16:creationId xmlns:a16="http://schemas.microsoft.com/office/drawing/2014/main" id="{416191F3-FE57-0470-467C-59F12F463E16}"/>
              </a:ext>
            </a:extLst>
          </p:cNvPr>
          <p:cNvSpPr txBox="1"/>
          <p:nvPr/>
        </p:nvSpPr>
        <p:spPr>
          <a:xfrm>
            <a:off x="10903087" y="669313"/>
            <a:ext cx="510266" cy="17440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050" spc="-5" dirty="0">
                <a:solidFill>
                  <a:srgbClr val="FFFFFF"/>
                </a:solidFill>
                <a:latin typeface="Calibri"/>
                <a:cs typeface="Calibri"/>
              </a:rPr>
              <a:t>Iteration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11" name="object 22">
            <a:extLst>
              <a:ext uri="{FF2B5EF4-FFF2-40B4-BE49-F238E27FC236}">
                <a16:creationId xmlns:a16="http://schemas.microsoft.com/office/drawing/2014/main" id="{FE008BE5-51C2-F5D9-999A-3B1BB1758E14}"/>
              </a:ext>
            </a:extLst>
          </p:cNvPr>
          <p:cNvSpPr/>
          <p:nvPr/>
        </p:nvSpPr>
        <p:spPr>
          <a:xfrm>
            <a:off x="7431275" y="594908"/>
            <a:ext cx="996950" cy="323215"/>
          </a:xfrm>
          <a:custGeom>
            <a:avLst/>
            <a:gdLst/>
            <a:ahLst/>
            <a:cxnLst/>
            <a:rect l="l" t="t" r="r" b="b"/>
            <a:pathLst>
              <a:path w="996950" h="323215">
                <a:moveTo>
                  <a:pt x="0" y="53848"/>
                </a:moveTo>
                <a:lnTo>
                  <a:pt x="4231" y="32886"/>
                </a:lnTo>
                <a:lnTo>
                  <a:pt x="15770" y="15770"/>
                </a:lnTo>
                <a:lnTo>
                  <a:pt x="32886" y="4231"/>
                </a:lnTo>
                <a:lnTo>
                  <a:pt x="53848" y="0"/>
                </a:lnTo>
                <a:lnTo>
                  <a:pt x="942847" y="0"/>
                </a:lnTo>
                <a:lnTo>
                  <a:pt x="963809" y="4231"/>
                </a:lnTo>
                <a:lnTo>
                  <a:pt x="980925" y="15770"/>
                </a:lnTo>
                <a:lnTo>
                  <a:pt x="992464" y="32886"/>
                </a:lnTo>
                <a:lnTo>
                  <a:pt x="996696" y="53848"/>
                </a:lnTo>
                <a:lnTo>
                  <a:pt x="996696" y="269240"/>
                </a:lnTo>
                <a:lnTo>
                  <a:pt x="992464" y="290201"/>
                </a:lnTo>
                <a:lnTo>
                  <a:pt x="980925" y="307317"/>
                </a:lnTo>
                <a:lnTo>
                  <a:pt x="963809" y="318856"/>
                </a:lnTo>
                <a:lnTo>
                  <a:pt x="942847" y="323088"/>
                </a:lnTo>
                <a:lnTo>
                  <a:pt x="53848" y="323088"/>
                </a:lnTo>
                <a:lnTo>
                  <a:pt x="32886" y="318856"/>
                </a:lnTo>
                <a:lnTo>
                  <a:pt x="15770" y="307317"/>
                </a:lnTo>
                <a:lnTo>
                  <a:pt x="4231" y="290201"/>
                </a:lnTo>
                <a:lnTo>
                  <a:pt x="0" y="269240"/>
                </a:lnTo>
                <a:lnTo>
                  <a:pt x="0" y="53848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23">
            <a:extLst>
              <a:ext uri="{FF2B5EF4-FFF2-40B4-BE49-F238E27FC236}">
                <a16:creationId xmlns:a16="http://schemas.microsoft.com/office/drawing/2014/main" id="{6A3B5880-1024-81D8-5B3A-16B1D270D4EE}"/>
              </a:ext>
            </a:extLst>
          </p:cNvPr>
          <p:cNvSpPr txBox="1"/>
          <p:nvPr/>
        </p:nvSpPr>
        <p:spPr>
          <a:xfrm>
            <a:off x="7501592" y="669312"/>
            <a:ext cx="926633" cy="17440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050" dirty="0">
                <a:solidFill>
                  <a:schemeClr val="bg1"/>
                </a:solidFill>
                <a:latin typeface="Calibri"/>
                <a:cs typeface="Calibri"/>
              </a:rPr>
              <a:t>Roadmap Dev.</a:t>
            </a:r>
            <a:endParaRPr sz="105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13" name="object 28">
            <a:extLst>
              <a:ext uri="{FF2B5EF4-FFF2-40B4-BE49-F238E27FC236}">
                <a16:creationId xmlns:a16="http://schemas.microsoft.com/office/drawing/2014/main" id="{7F9FEF96-1B62-89B2-29D7-3D166098F010}"/>
              </a:ext>
            </a:extLst>
          </p:cNvPr>
          <p:cNvSpPr/>
          <p:nvPr/>
        </p:nvSpPr>
        <p:spPr>
          <a:xfrm>
            <a:off x="8508490" y="594909"/>
            <a:ext cx="995680" cy="323215"/>
          </a:xfrm>
          <a:custGeom>
            <a:avLst/>
            <a:gdLst/>
            <a:ahLst/>
            <a:cxnLst/>
            <a:rect l="l" t="t" r="r" b="b"/>
            <a:pathLst>
              <a:path w="995679" h="323215">
                <a:moveTo>
                  <a:pt x="0" y="53848"/>
                </a:moveTo>
                <a:lnTo>
                  <a:pt x="4231" y="32886"/>
                </a:lnTo>
                <a:lnTo>
                  <a:pt x="15770" y="15770"/>
                </a:lnTo>
                <a:lnTo>
                  <a:pt x="32886" y="4231"/>
                </a:lnTo>
                <a:lnTo>
                  <a:pt x="53848" y="0"/>
                </a:lnTo>
                <a:lnTo>
                  <a:pt x="941324" y="0"/>
                </a:lnTo>
                <a:lnTo>
                  <a:pt x="962285" y="4231"/>
                </a:lnTo>
                <a:lnTo>
                  <a:pt x="979401" y="15770"/>
                </a:lnTo>
                <a:lnTo>
                  <a:pt x="990940" y="32886"/>
                </a:lnTo>
                <a:lnTo>
                  <a:pt x="995172" y="53848"/>
                </a:lnTo>
                <a:lnTo>
                  <a:pt x="995172" y="269240"/>
                </a:lnTo>
                <a:lnTo>
                  <a:pt x="990940" y="290201"/>
                </a:lnTo>
                <a:lnTo>
                  <a:pt x="979401" y="307317"/>
                </a:lnTo>
                <a:lnTo>
                  <a:pt x="962285" y="318856"/>
                </a:lnTo>
                <a:lnTo>
                  <a:pt x="941324" y="323088"/>
                </a:lnTo>
                <a:lnTo>
                  <a:pt x="53848" y="323088"/>
                </a:lnTo>
                <a:lnTo>
                  <a:pt x="32886" y="318856"/>
                </a:lnTo>
                <a:lnTo>
                  <a:pt x="15770" y="307317"/>
                </a:lnTo>
                <a:lnTo>
                  <a:pt x="4231" y="290201"/>
                </a:lnTo>
                <a:lnTo>
                  <a:pt x="0" y="269240"/>
                </a:lnTo>
                <a:lnTo>
                  <a:pt x="0" y="53848"/>
                </a:lnTo>
                <a:close/>
              </a:path>
            </a:pathLst>
          </a:custGeom>
          <a:solidFill>
            <a:srgbClr val="8B0000"/>
          </a:solidFill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schemeClr val="bg1"/>
              </a:solidFill>
            </a:endParaRPr>
          </a:p>
        </p:txBody>
      </p:sp>
      <p:sp>
        <p:nvSpPr>
          <p:cNvPr id="14" name="object 29">
            <a:extLst>
              <a:ext uri="{FF2B5EF4-FFF2-40B4-BE49-F238E27FC236}">
                <a16:creationId xmlns:a16="http://schemas.microsoft.com/office/drawing/2014/main" id="{55FD59EB-80DF-E77B-C9B4-9B8A88EB63ED}"/>
              </a:ext>
            </a:extLst>
          </p:cNvPr>
          <p:cNvSpPr txBox="1"/>
          <p:nvPr/>
        </p:nvSpPr>
        <p:spPr>
          <a:xfrm>
            <a:off x="8692118" y="669313"/>
            <a:ext cx="628424" cy="174407"/>
          </a:xfrm>
          <a:prstGeom prst="rect">
            <a:avLst/>
          </a:prstGeom>
          <a:solidFill>
            <a:srgbClr val="8B0000"/>
          </a:solidFill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050" spc="-30" dirty="0">
                <a:solidFill>
                  <a:schemeClr val="bg1"/>
                </a:solidFill>
                <a:latin typeface="Calibri"/>
                <a:cs typeface="Calibri"/>
              </a:rPr>
              <a:t>Preparation</a:t>
            </a:r>
            <a:endParaRPr sz="105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21" name="object 24">
            <a:extLst>
              <a:ext uri="{FF2B5EF4-FFF2-40B4-BE49-F238E27FC236}">
                <a16:creationId xmlns:a16="http://schemas.microsoft.com/office/drawing/2014/main" id="{9D24EEF1-91E4-D284-7DF9-D2FCF650ED7A}"/>
              </a:ext>
            </a:extLst>
          </p:cNvPr>
          <p:cNvSpPr/>
          <p:nvPr/>
        </p:nvSpPr>
        <p:spPr>
          <a:xfrm>
            <a:off x="9584435" y="595883"/>
            <a:ext cx="995680" cy="323215"/>
          </a:xfrm>
          <a:custGeom>
            <a:avLst/>
            <a:gdLst/>
            <a:ahLst/>
            <a:cxnLst/>
            <a:rect l="l" t="t" r="r" b="b"/>
            <a:pathLst>
              <a:path w="995679" h="323215">
                <a:moveTo>
                  <a:pt x="0" y="53848"/>
                </a:moveTo>
                <a:lnTo>
                  <a:pt x="4231" y="32886"/>
                </a:lnTo>
                <a:lnTo>
                  <a:pt x="15770" y="15770"/>
                </a:lnTo>
                <a:lnTo>
                  <a:pt x="32886" y="4231"/>
                </a:lnTo>
                <a:lnTo>
                  <a:pt x="53848" y="0"/>
                </a:lnTo>
                <a:lnTo>
                  <a:pt x="941324" y="0"/>
                </a:lnTo>
                <a:lnTo>
                  <a:pt x="962285" y="4231"/>
                </a:lnTo>
                <a:lnTo>
                  <a:pt x="979401" y="15770"/>
                </a:lnTo>
                <a:lnTo>
                  <a:pt x="990940" y="32886"/>
                </a:lnTo>
                <a:lnTo>
                  <a:pt x="995172" y="53848"/>
                </a:lnTo>
                <a:lnTo>
                  <a:pt x="995172" y="269240"/>
                </a:lnTo>
                <a:lnTo>
                  <a:pt x="990940" y="290201"/>
                </a:lnTo>
                <a:lnTo>
                  <a:pt x="979401" y="307317"/>
                </a:lnTo>
                <a:lnTo>
                  <a:pt x="962285" y="318856"/>
                </a:lnTo>
                <a:lnTo>
                  <a:pt x="941324" y="323088"/>
                </a:lnTo>
                <a:lnTo>
                  <a:pt x="53848" y="323088"/>
                </a:lnTo>
                <a:lnTo>
                  <a:pt x="32886" y="318856"/>
                </a:lnTo>
                <a:lnTo>
                  <a:pt x="15770" y="307317"/>
                </a:lnTo>
                <a:lnTo>
                  <a:pt x="4231" y="290201"/>
                </a:lnTo>
                <a:lnTo>
                  <a:pt x="0" y="269240"/>
                </a:lnTo>
                <a:lnTo>
                  <a:pt x="0" y="53848"/>
                </a:lnTo>
                <a:close/>
              </a:path>
            </a:pathLst>
          </a:custGeom>
          <a:solidFill>
            <a:srgbClr val="8B0000"/>
          </a:solidFill>
          <a:ln w="9144">
            <a:solidFill>
              <a:srgbClr val="FFFFFF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en-US" sz="105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ecution</a:t>
            </a:r>
            <a:endParaRPr sz="105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56">
            <a:extLst>
              <a:ext uri="{FF2B5EF4-FFF2-40B4-BE49-F238E27FC236}">
                <a16:creationId xmlns:a16="http://schemas.microsoft.com/office/drawing/2014/main" id="{E36F608D-9140-2F36-CDA6-A50E0BA862D8}"/>
              </a:ext>
            </a:extLst>
          </p:cNvPr>
          <p:cNvSpPr/>
          <p:nvPr/>
        </p:nvSpPr>
        <p:spPr>
          <a:xfrm>
            <a:off x="6043421" y="0"/>
            <a:ext cx="6228587" cy="6858000"/>
          </a:xfrm>
          <a:prstGeom prst="rect">
            <a:avLst/>
          </a:prstGeom>
          <a:solidFill>
            <a:srgbClr val="8B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669603" y="473482"/>
            <a:ext cx="4757743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3600" spc="-10" dirty="0">
                <a:solidFill>
                  <a:srgbClr val="8B0000"/>
                </a:solidFill>
                <a:latin typeface="Georgia" panose="02040502050405020303" pitchFamily="18" charset="0"/>
              </a:rPr>
              <a:t>Roadmap Development</a:t>
            </a:r>
            <a:endParaRPr sz="3600" dirty="0">
              <a:solidFill>
                <a:srgbClr val="8B0000"/>
              </a:solidFill>
              <a:latin typeface="Georgia" panose="02040502050405020303" pitchFamily="18" charset="0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10660380" y="594909"/>
            <a:ext cx="995680" cy="323215"/>
          </a:xfrm>
          <a:custGeom>
            <a:avLst/>
            <a:gdLst/>
            <a:ahLst/>
            <a:cxnLst/>
            <a:rect l="l" t="t" r="r" b="b"/>
            <a:pathLst>
              <a:path w="995679" h="323215">
                <a:moveTo>
                  <a:pt x="0" y="53848"/>
                </a:moveTo>
                <a:lnTo>
                  <a:pt x="4231" y="32886"/>
                </a:lnTo>
                <a:lnTo>
                  <a:pt x="15770" y="15770"/>
                </a:lnTo>
                <a:lnTo>
                  <a:pt x="32886" y="4231"/>
                </a:lnTo>
                <a:lnTo>
                  <a:pt x="53848" y="0"/>
                </a:lnTo>
                <a:lnTo>
                  <a:pt x="941324" y="0"/>
                </a:lnTo>
                <a:lnTo>
                  <a:pt x="962285" y="4231"/>
                </a:lnTo>
                <a:lnTo>
                  <a:pt x="979401" y="15770"/>
                </a:lnTo>
                <a:lnTo>
                  <a:pt x="990940" y="32886"/>
                </a:lnTo>
                <a:lnTo>
                  <a:pt x="995172" y="53848"/>
                </a:lnTo>
                <a:lnTo>
                  <a:pt x="995172" y="269240"/>
                </a:lnTo>
                <a:lnTo>
                  <a:pt x="990940" y="290201"/>
                </a:lnTo>
                <a:lnTo>
                  <a:pt x="979401" y="307317"/>
                </a:lnTo>
                <a:lnTo>
                  <a:pt x="962285" y="318856"/>
                </a:lnTo>
                <a:lnTo>
                  <a:pt x="941324" y="323088"/>
                </a:lnTo>
                <a:lnTo>
                  <a:pt x="53848" y="323088"/>
                </a:lnTo>
                <a:lnTo>
                  <a:pt x="32886" y="318856"/>
                </a:lnTo>
                <a:lnTo>
                  <a:pt x="15770" y="307317"/>
                </a:lnTo>
                <a:lnTo>
                  <a:pt x="4231" y="290201"/>
                </a:lnTo>
                <a:lnTo>
                  <a:pt x="0" y="269240"/>
                </a:lnTo>
                <a:lnTo>
                  <a:pt x="0" y="53848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0" name="object 30"/>
          <p:cNvGrpSpPr/>
          <p:nvPr/>
        </p:nvGrpSpPr>
        <p:grpSpPr>
          <a:xfrm>
            <a:off x="6353365" y="591121"/>
            <a:ext cx="1005205" cy="332740"/>
            <a:chOff x="6353365" y="591121"/>
            <a:chExt cx="1005205" cy="332740"/>
          </a:xfrm>
          <a:solidFill>
            <a:srgbClr val="8B0000"/>
          </a:solidFill>
        </p:grpSpPr>
        <p:sp>
          <p:nvSpPr>
            <p:cNvPr id="31" name="object 31"/>
            <p:cNvSpPr/>
            <p:nvPr/>
          </p:nvSpPr>
          <p:spPr>
            <a:xfrm>
              <a:off x="6358128" y="595883"/>
              <a:ext cx="995680" cy="323215"/>
            </a:xfrm>
            <a:custGeom>
              <a:avLst/>
              <a:gdLst/>
              <a:ahLst/>
              <a:cxnLst/>
              <a:rect l="l" t="t" r="r" b="b"/>
              <a:pathLst>
                <a:path w="995679" h="323215">
                  <a:moveTo>
                    <a:pt x="941324" y="0"/>
                  </a:moveTo>
                  <a:lnTo>
                    <a:pt x="53848" y="0"/>
                  </a:lnTo>
                  <a:lnTo>
                    <a:pt x="32886" y="4231"/>
                  </a:lnTo>
                  <a:lnTo>
                    <a:pt x="15770" y="15770"/>
                  </a:lnTo>
                  <a:lnTo>
                    <a:pt x="4231" y="32886"/>
                  </a:lnTo>
                  <a:lnTo>
                    <a:pt x="0" y="53848"/>
                  </a:lnTo>
                  <a:lnTo>
                    <a:pt x="0" y="269240"/>
                  </a:lnTo>
                  <a:lnTo>
                    <a:pt x="4231" y="290201"/>
                  </a:lnTo>
                  <a:lnTo>
                    <a:pt x="15770" y="307317"/>
                  </a:lnTo>
                  <a:lnTo>
                    <a:pt x="32886" y="318856"/>
                  </a:lnTo>
                  <a:lnTo>
                    <a:pt x="53848" y="323088"/>
                  </a:lnTo>
                  <a:lnTo>
                    <a:pt x="941324" y="323088"/>
                  </a:lnTo>
                  <a:lnTo>
                    <a:pt x="962285" y="318856"/>
                  </a:lnTo>
                  <a:lnTo>
                    <a:pt x="979401" y="307317"/>
                  </a:lnTo>
                  <a:lnTo>
                    <a:pt x="990940" y="290201"/>
                  </a:lnTo>
                  <a:lnTo>
                    <a:pt x="995172" y="269240"/>
                  </a:lnTo>
                  <a:lnTo>
                    <a:pt x="995172" y="53848"/>
                  </a:lnTo>
                  <a:lnTo>
                    <a:pt x="990940" y="32886"/>
                  </a:lnTo>
                  <a:lnTo>
                    <a:pt x="979401" y="15770"/>
                  </a:lnTo>
                  <a:lnTo>
                    <a:pt x="962285" y="4231"/>
                  </a:lnTo>
                  <a:lnTo>
                    <a:pt x="941324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schemeClr val="bg1"/>
                </a:solidFill>
              </a:endParaRPr>
            </a:p>
          </p:txBody>
        </p:sp>
        <p:sp>
          <p:nvSpPr>
            <p:cNvPr id="32" name="object 32"/>
            <p:cNvSpPr/>
            <p:nvPr/>
          </p:nvSpPr>
          <p:spPr>
            <a:xfrm>
              <a:off x="6358128" y="595883"/>
              <a:ext cx="995680" cy="323215"/>
            </a:xfrm>
            <a:custGeom>
              <a:avLst/>
              <a:gdLst/>
              <a:ahLst/>
              <a:cxnLst/>
              <a:rect l="l" t="t" r="r" b="b"/>
              <a:pathLst>
                <a:path w="995679" h="323215">
                  <a:moveTo>
                    <a:pt x="0" y="53848"/>
                  </a:moveTo>
                  <a:lnTo>
                    <a:pt x="4231" y="32886"/>
                  </a:lnTo>
                  <a:lnTo>
                    <a:pt x="15770" y="15770"/>
                  </a:lnTo>
                  <a:lnTo>
                    <a:pt x="32886" y="4231"/>
                  </a:lnTo>
                  <a:lnTo>
                    <a:pt x="53848" y="0"/>
                  </a:lnTo>
                  <a:lnTo>
                    <a:pt x="941324" y="0"/>
                  </a:lnTo>
                  <a:lnTo>
                    <a:pt x="962285" y="4231"/>
                  </a:lnTo>
                  <a:lnTo>
                    <a:pt x="979401" y="15770"/>
                  </a:lnTo>
                  <a:lnTo>
                    <a:pt x="990940" y="32886"/>
                  </a:lnTo>
                  <a:lnTo>
                    <a:pt x="995172" y="53848"/>
                  </a:lnTo>
                  <a:lnTo>
                    <a:pt x="995172" y="269240"/>
                  </a:lnTo>
                  <a:lnTo>
                    <a:pt x="990940" y="290201"/>
                  </a:lnTo>
                  <a:lnTo>
                    <a:pt x="979401" y="307317"/>
                  </a:lnTo>
                  <a:lnTo>
                    <a:pt x="962285" y="318856"/>
                  </a:lnTo>
                  <a:lnTo>
                    <a:pt x="941324" y="323088"/>
                  </a:lnTo>
                  <a:lnTo>
                    <a:pt x="53848" y="323088"/>
                  </a:lnTo>
                  <a:lnTo>
                    <a:pt x="32886" y="318856"/>
                  </a:lnTo>
                  <a:lnTo>
                    <a:pt x="15770" y="307317"/>
                  </a:lnTo>
                  <a:lnTo>
                    <a:pt x="4231" y="290201"/>
                  </a:lnTo>
                  <a:lnTo>
                    <a:pt x="0" y="269240"/>
                  </a:lnTo>
                  <a:lnTo>
                    <a:pt x="0" y="53848"/>
                  </a:lnTo>
                  <a:close/>
                </a:path>
              </a:pathLst>
            </a:custGeom>
            <a:grpFill/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schemeClr val="bg1"/>
                </a:solidFill>
              </a:endParaRPr>
            </a:p>
          </p:txBody>
        </p:sp>
      </p:grpSp>
      <p:sp>
        <p:nvSpPr>
          <p:cNvPr id="33" name="object 33"/>
          <p:cNvSpPr txBox="1"/>
          <p:nvPr/>
        </p:nvSpPr>
        <p:spPr>
          <a:xfrm>
            <a:off x="6529012" y="670288"/>
            <a:ext cx="653911" cy="174407"/>
          </a:xfrm>
          <a:prstGeom prst="rect">
            <a:avLst/>
          </a:prstGeom>
          <a:solidFill>
            <a:srgbClr val="8B0000"/>
          </a:solidFill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050" spc="-5" dirty="0">
                <a:solidFill>
                  <a:schemeClr val="bg1"/>
                </a:solidFill>
                <a:latin typeface="Calibri"/>
                <a:cs typeface="Calibri"/>
              </a:rPr>
              <a:t>Foundation</a:t>
            </a:r>
            <a:endParaRPr sz="105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358128" y="1764936"/>
            <a:ext cx="5297805" cy="4422775"/>
          </a:xfrm>
          <a:custGeom>
            <a:avLst/>
            <a:gdLst/>
            <a:ahLst/>
            <a:cxnLst/>
            <a:rect l="l" t="t" r="r" b="b"/>
            <a:pathLst>
              <a:path w="5297805" h="4422775">
                <a:moveTo>
                  <a:pt x="5084114" y="0"/>
                </a:moveTo>
                <a:lnTo>
                  <a:pt x="213309" y="0"/>
                </a:lnTo>
                <a:lnTo>
                  <a:pt x="164400" y="5633"/>
                </a:lnTo>
                <a:lnTo>
                  <a:pt x="119502" y="21681"/>
                </a:lnTo>
                <a:lnTo>
                  <a:pt x="79896" y="46862"/>
                </a:lnTo>
                <a:lnTo>
                  <a:pt x="46862" y="79896"/>
                </a:lnTo>
                <a:lnTo>
                  <a:pt x="21681" y="119502"/>
                </a:lnTo>
                <a:lnTo>
                  <a:pt x="5633" y="164400"/>
                </a:lnTo>
                <a:lnTo>
                  <a:pt x="0" y="213309"/>
                </a:lnTo>
                <a:lnTo>
                  <a:pt x="0" y="4209351"/>
                </a:lnTo>
                <a:lnTo>
                  <a:pt x="5633" y="4258259"/>
                </a:lnTo>
                <a:lnTo>
                  <a:pt x="21681" y="4303155"/>
                </a:lnTo>
                <a:lnTo>
                  <a:pt x="46862" y="4342759"/>
                </a:lnTo>
                <a:lnTo>
                  <a:pt x="79896" y="4375790"/>
                </a:lnTo>
                <a:lnTo>
                  <a:pt x="119502" y="4400969"/>
                </a:lnTo>
                <a:lnTo>
                  <a:pt x="164400" y="4417014"/>
                </a:lnTo>
                <a:lnTo>
                  <a:pt x="213309" y="4422648"/>
                </a:lnTo>
                <a:lnTo>
                  <a:pt x="5084114" y="4422648"/>
                </a:lnTo>
                <a:lnTo>
                  <a:pt x="5133023" y="4417014"/>
                </a:lnTo>
                <a:lnTo>
                  <a:pt x="5177921" y="4400969"/>
                </a:lnTo>
                <a:lnTo>
                  <a:pt x="5217527" y="4375790"/>
                </a:lnTo>
                <a:lnTo>
                  <a:pt x="5250561" y="4342759"/>
                </a:lnTo>
                <a:lnTo>
                  <a:pt x="5275742" y="4303155"/>
                </a:lnTo>
                <a:lnTo>
                  <a:pt x="5291790" y="4258259"/>
                </a:lnTo>
                <a:lnTo>
                  <a:pt x="5297424" y="4209351"/>
                </a:lnTo>
                <a:lnTo>
                  <a:pt x="5297424" y="213309"/>
                </a:lnTo>
                <a:lnTo>
                  <a:pt x="5291790" y="164400"/>
                </a:lnTo>
                <a:lnTo>
                  <a:pt x="5275742" y="119502"/>
                </a:lnTo>
                <a:lnTo>
                  <a:pt x="5250561" y="79896"/>
                </a:lnTo>
                <a:lnTo>
                  <a:pt x="5217527" y="46862"/>
                </a:lnTo>
                <a:lnTo>
                  <a:pt x="5177921" y="21681"/>
                </a:lnTo>
                <a:lnTo>
                  <a:pt x="5133023" y="5633"/>
                </a:lnTo>
                <a:lnTo>
                  <a:pt x="508411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object 21">
            <a:extLst>
              <a:ext uri="{FF2B5EF4-FFF2-40B4-BE49-F238E27FC236}">
                <a16:creationId xmlns:a16="http://schemas.microsoft.com/office/drawing/2014/main" id="{18C4B15D-93EE-0315-4C0F-DDD9874755BB}"/>
              </a:ext>
            </a:extLst>
          </p:cNvPr>
          <p:cNvSpPr txBox="1"/>
          <p:nvPr/>
        </p:nvSpPr>
        <p:spPr>
          <a:xfrm>
            <a:off x="6345495" y="1283275"/>
            <a:ext cx="259969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400" spc="10" dirty="0">
                <a:solidFill>
                  <a:srgbClr val="FFFFFF"/>
                </a:solidFill>
                <a:latin typeface="Georgia" panose="02040502050405020303" pitchFamily="18" charset="0"/>
                <a:cs typeface="Calibri"/>
              </a:rPr>
              <a:t>Timeline</a:t>
            </a:r>
            <a:endParaRPr sz="2400" dirty="0">
              <a:latin typeface="Georgia" panose="02040502050405020303" pitchFamily="18" charset="0"/>
              <a:cs typeface="Calibri"/>
            </a:endParaRPr>
          </a:p>
        </p:txBody>
      </p:sp>
      <p:sp>
        <p:nvSpPr>
          <p:cNvPr id="69" name="object 5">
            <a:extLst>
              <a:ext uri="{FF2B5EF4-FFF2-40B4-BE49-F238E27FC236}">
                <a16:creationId xmlns:a16="http://schemas.microsoft.com/office/drawing/2014/main" id="{FADB215E-D4BD-E7FD-1A45-CA5CF6F46D33}"/>
              </a:ext>
            </a:extLst>
          </p:cNvPr>
          <p:cNvSpPr/>
          <p:nvPr/>
        </p:nvSpPr>
        <p:spPr>
          <a:xfrm flipV="1">
            <a:off x="7645371" y="1467145"/>
            <a:ext cx="4010562" cy="45719"/>
          </a:xfrm>
          <a:custGeom>
            <a:avLst/>
            <a:gdLst/>
            <a:ahLst/>
            <a:cxnLst/>
            <a:rect l="l" t="t" r="r" b="b"/>
            <a:pathLst>
              <a:path w="2672079">
                <a:moveTo>
                  <a:pt x="0" y="0"/>
                </a:moveTo>
                <a:lnTo>
                  <a:pt x="2671673" y="0"/>
                </a:lnTo>
              </a:path>
            </a:pathLst>
          </a:custGeom>
          <a:ln w="1219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11">
            <a:extLst>
              <a:ext uri="{FF2B5EF4-FFF2-40B4-BE49-F238E27FC236}">
                <a16:creationId xmlns:a16="http://schemas.microsoft.com/office/drawing/2014/main" id="{5175E2A0-D907-502A-F59D-A95EB295F4FE}"/>
              </a:ext>
            </a:extLst>
          </p:cNvPr>
          <p:cNvSpPr/>
          <p:nvPr/>
        </p:nvSpPr>
        <p:spPr>
          <a:xfrm>
            <a:off x="664454" y="4910001"/>
            <a:ext cx="2435860" cy="266700"/>
          </a:xfrm>
          <a:custGeom>
            <a:avLst/>
            <a:gdLst/>
            <a:ahLst/>
            <a:cxnLst/>
            <a:rect l="l" t="t" r="r" b="b"/>
            <a:pathLst>
              <a:path w="2435860" h="266700">
                <a:moveTo>
                  <a:pt x="2390902" y="0"/>
                </a:moveTo>
                <a:lnTo>
                  <a:pt x="44450" y="0"/>
                </a:lnTo>
                <a:lnTo>
                  <a:pt x="27148" y="3493"/>
                </a:lnTo>
                <a:lnTo>
                  <a:pt x="13019" y="13019"/>
                </a:lnTo>
                <a:lnTo>
                  <a:pt x="3493" y="27148"/>
                </a:lnTo>
                <a:lnTo>
                  <a:pt x="0" y="44450"/>
                </a:lnTo>
                <a:lnTo>
                  <a:pt x="0" y="222250"/>
                </a:lnTo>
                <a:lnTo>
                  <a:pt x="3493" y="239551"/>
                </a:lnTo>
                <a:lnTo>
                  <a:pt x="13019" y="253680"/>
                </a:lnTo>
                <a:lnTo>
                  <a:pt x="27148" y="263206"/>
                </a:lnTo>
                <a:lnTo>
                  <a:pt x="44450" y="266700"/>
                </a:lnTo>
                <a:lnTo>
                  <a:pt x="2390902" y="266700"/>
                </a:lnTo>
                <a:lnTo>
                  <a:pt x="2408203" y="263206"/>
                </a:lnTo>
                <a:lnTo>
                  <a:pt x="2422332" y="253680"/>
                </a:lnTo>
                <a:lnTo>
                  <a:pt x="2431858" y="239551"/>
                </a:lnTo>
                <a:lnTo>
                  <a:pt x="2435352" y="222250"/>
                </a:lnTo>
                <a:lnTo>
                  <a:pt x="2435352" y="44450"/>
                </a:lnTo>
                <a:lnTo>
                  <a:pt x="2431858" y="27148"/>
                </a:lnTo>
                <a:lnTo>
                  <a:pt x="2422332" y="13019"/>
                </a:lnTo>
                <a:lnTo>
                  <a:pt x="2408203" y="3493"/>
                </a:lnTo>
                <a:lnTo>
                  <a:pt x="2390902" y="0"/>
                </a:lnTo>
                <a:close/>
              </a:path>
            </a:pathLst>
          </a:custGeom>
          <a:solidFill>
            <a:srgbClr val="8B0000"/>
          </a:solidFill>
        </p:spPr>
        <p:txBody>
          <a:bodyPr wrap="square" lIns="0" tIns="0" rIns="0" bIns="0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 Team</a:t>
            </a:r>
            <a:endParaRPr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159BDFE-CA1B-0D45-8787-6A3C4D1D277A}"/>
              </a:ext>
            </a:extLst>
          </p:cNvPr>
          <p:cNvSpPr txBox="1"/>
          <p:nvPr/>
        </p:nvSpPr>
        <p:spPr>
          <a:xfrm>
            <a:off x="595564" y="5152120"/>
            <a:ext cx="2614098" cy="1679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readiness assessment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readiness analysis &amp; solution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 industry insight report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mmended tools list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ke/ Shape/ Make strategy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mmended pattern &amp; process list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-year roadmap with OKR notation</a:t>
            </a:r>
          </a:p>
        </p:txBody>
      </p:sp>
      <p:sp>
        <p:nvSpPr>
          <p:cNvPr id="5" name="object 25">
            <a:extLst>
              <a:ext uri="{FF2B5EF4-FFF2-40B4-BE49-F238E27FC236}">
                <a16:creationId xmlns:a16="http://schemas.microsoft.com/office/drawing/2014/main" id="{416191F3-FE57-0470-467C-59F12F463E16}"/>
              </a:ext>
            </a:extLst>
          </p:cNvPr>
          <p:cNvSpPr txBox="1"/>
          <p:nvPr/>
        </p:nvSpPr>
        <p:spPr>
          <a:xfrm>
            <a:off x="10903087" y="669313"/>
            <a:ext cx="510266" cy="17440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050" spc="-5" dirty="0">
                <a:solidFill>
                  <a:srgbClr val="FFFFFF"/>
                </a:solidFill>
                <a:latin typeface="Calibri"/>
                <a:cs typeface="Calibri"/>
              </a:rPr>
              <a:t>Iteration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4" name="object 16">
            <a:extLst>
              <a:ext uri="{FF2B5EF4-FFF2-40B4-BE49-F238E27FC236}">
                <a16:creationId xmlns:a16="http://schemas.microsoft.com/office/drawing/2014/main" id="{3B5E0096-163B-12AB-D0F5-356116D6C4CE}"/>
              </a:ext>
            </a:extLst>
          </p:cNvPr>
          <p:cNvSpPr/>
          <p:nvPr/>
        </p:nvSpPr>
        <p:spPr>
          <a:xfrm>
            <a:off x="2778786" y="1546510"/>
            <a:ext cx="2956025" cy="51022"/>
          </a:xfrm>
          <a:custGeom>
            <a:avLst/>
            <a:gdLst/>
            <a:ahLst/>
            <a:cxnLst/>
            <a:rect l="l" t="t" r="r" b="b"/>
            <a:pathLst>
              <a:path w="2763520">
                <a:moveTo>
                  <a:pt x="0" y="0"/>
                </a:moveTo>
                <a:lnTo>
                  <a:pt x="2763503" y="0"/>
                </a:lnTo>
              </a:path>
            </a:pathLst>
          </a:custGeom>
          <a:ln w="12192">
            <a:solidFill>
              <a:schemeClr val="bg2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22A03B87-59CC-F614-C7AB-B667827D0A3D}"/>
              </a:ext>
            </a:extLst>
          </p:cNvPr>
          <p:cNvSpPr txBox="1"/>
          <p:nvPr/>
        </p:nvSpPr>
        <p:spPr>
          <a:xfrm>
            <a:off x="664455" y="1303909"/>
            <a:ext cx="2171665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2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Phase</a:t>
            </a:r>
            <a:r>
              <a:rPr sz="2400" spc="-135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 </a:t>
            </a:r>
            <a:r>
              <a:rPr lang="en-US" sz="2400" spc="-4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o</a:t>
            </a:r>
            <a:r>
              <a:rPr sz="2400" spc="-4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verview</a:t>
            </a:r>
            <a:endParaRPr sz="2400" dirty="0">
              <a:solidFill>
                <a:schemeClr val="bg2">
                  <a:lumMod val="50000"/>
                </a:schemeClr>
              </a:solidFill>
              <a:latin typeface="Georgia" panose="02040502050405020303" pitchFamily="18" charset="0"/>
              <a:cs typeface="Calibri"/>
            </a:endParaRPr>
          </a:p>
        </p:txBody>
      </p:sp>
      <p:sp>
        <p:nvSpPr>
          <p:cNvPr id="13" name="object 20">
            <a:extLst>
              <a:ext uri="{FF2B5EF4-FFF2-40B4-BE49-F238E27FC236}">
                <a16:creationId xmlns:a16="http://schemas.microsoft.com/office/drawing/2014/main" id="{0459DAB1-756F-72EF-82CD-C388B74800D9}"/>
              </a:ext>
            </a:extLst>
          </p:cNvPr>
          <p:cNvSpPr/>
          <p:nvPr/>
        </p:nvSpPr>
        <p:spPr>
          <a:xfrm flipV="1">
            <a:off x="2946476" y="4711564"/>
            <a:ext cx="2778744" cy="45719"/>
          </a:xfrm>
          <a:custGeom>
            <a:avLst/>
            <a:gdLst/>
            <a:ahLst/>
            <a:cxnLst/>
            <a:rect l="l" t="t" r="r" b="b"/>
            <a:pathLst>
              <a:path w="2898140">
                <a:moveTo>
                  <a:pt x="0" y="0"/>
                </a:moveTo>
                <a:lnTo>
                  <a:pt x="2897615" y="0"/>
                </a:lnTo>
              </a:path>
            </a:pathLst>
          </a:custGeom>
          <a:ln w="12191">
            <a:solidFill>
              <a:schemeClr val="bg2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17">
            <a:extLst>
              <a:ext uri="{FF2B5EF4-FFF2-40B4-BE49-F238E27FC236}">
                <a16:creationId xmlns:a16="http://schemas.microsoft.com/office/drawing/2014/main" id="{4E4EA5E4-9E3A-ACBA-C46D-EFC581C5D5B1}"/>
              </a:ext>
            </a:extLst>
          </p:cNvPr>
          <p:cNvSpPr txBox="1"/>
          <p:nvPr/>
        </p:nvSpPr>
        <p:spPr>
          <a:xfrm>
            <a:off x="683110" y="4510048"/>
            <a:ext cx="2281464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400" spc="2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Responsibilities</a:t>
            </a:r>
            <a:endParaRPr sz="2400" dirty="0">
              <a:solidFill>
                <a:schemeClr val="bg2">
                  <a:lumMod val="50000"/>
                </a:schemeClr>
              </a:solidFill>
              <a:latin typeface="Georgia" panose="02040502050405020303" pitchFamily="18" charset="0"/>
              <a:cs typeface="Calibri"/>
            </a:endParaRPr>
          </a:p>
        </p:txBody>
      </p:sp>
      <p:sp>
        <p:nvSpPr>
          <p:cNvPr id="10" name="object 15">
            <a:extLst>
              <a:ext uri="{FF2B5EF4-FFF2-40B4-BE49-F238E27FC236}">
                <a16:creationId xmlns:a16="http://schemas.microsoft.com/office/drawing/2014/main" id="{57729B5C-02F7-76EF-0BD3-7EBBEF81E5AF}"/>
              </a:ext>
            </a:extLst>
          </p:cNvPr>
          <p:cNvSpPr txBox="1"/>
          <p:nvPr/>
        </p:nvSpPr>
        <p:spPr>
          <a:xfrm>
            <a:off x="700302" y="1699069"/>
            <a:ext cx="5034509" cy="102528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41300" marR="5715" indent="-229235">
              <a:lnSpc>
                <a:spcPct val="100000"/>
              </a:lnSpc>
              <a:spcBef>
                <a:spcPts val="95"/>
              </a:spcBef>
              <a:buFont typeface="Arial"/>
              <a:buChar char="•"/>
              <a:tabLst>
                <a:tab pos="241300" algn="l"/>
                <a:tab pos="241935" algn="l"/>
              </a:tabLst>
            </a:pPr>
            <a:r>
              <a:rPr sz="1000" spc="1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ary</a:t>
            </a:r>
            <a:r>
              <a:rPr sz="1000" spc="-1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000" spc="2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al</a:t>
            </a:r>
            <a:r>
              <a:rPr sz="1000" spc="-2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000" spc="1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sz="1000" spc="-1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spc="-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construct an AI roadmap that aligns emerging technologies with strategic business objectives</a:t>
            </a:r>
          </a:p>
          <a:p>
            <a:pPr marL="241300" marR="5715" indent="-229235">
              <a:lnSpc>
                <a:spcPct val="100000"/>
              </a:lnSpc>
              <a:spcBef>
                <a:spcPts val="95"/>
              </a:spcBef>
              <a:buFont typeface="Arial"/>
              <a:buChar char="•"/>
              <a:tabLst>
                <a:tab pos="241300" algn="l"/>
                <a:tab pos="241935" algn="l"/>
              </a:tabLst>
            </a:pPr>
            <a:r>
              <a:rPr lang="en-US" sz="1000" spc="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blish AI patterns and processes that enable scalable AI/ML platform functionality with a focus on </a:t>
            </a:r>
            <a:r>
              <a:rPr lang="en-US" sz="1000" spc="5" dirty="0" err="1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LOps</a:t>
            </a:r>
            <a:r>
              <a:rPr lang="en-US" sz="1000" spc="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reusable components, and model performance</a:t>
            </a:r>
          </a:p>
          <a:p>
            <a:pPr marL="240665" marR="5080" indent="-228600">
              <a:lnSpc>
                <a:spcPct val="100000"/>
              </a:lnSpc>
              <a:spcBef>
                <a:spcPts val="300"/>
              </a:spcBef>
              <a:buFont typeface="Arial"/>
              <a:buChar char="•"/>
              <a:tabLst>
                <a:tab pos="241300" algn="l"/>
                <a:tab pos="241935" algn="l"/>
              </a:tabLst>
            </a:pPr>
            <a:r>
              <a:rPr lang="en-US" sz="1000" spc="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sure data readiness, prioritizing data governance and lifecycle management</a:t>
            </a:r>
          </a:p>
          <a:p>
            <a:pPr marL="240665" marR="5080" indent="-228600">
              <a:lnSpc>
                <a:spcPct val="100000"/>
              </a:lnSpc>
              <a:spcBef>
                <a:spcPts val="300"/>
              </a:spcBef>
              <a:buFont typeface="Arial"/>
              <a:buChar char="•"/>
              <a:tabLst>
                <a:tab pos="241300" algn="l"/>
                <a:tab pos="241935" algn="l"/>
              </a:tabLst>
            </a:pPr>
            <a:r>
              <a:rPr lang="en-US" sz="1000" spc="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ke vs Shape vs Make decisions</a:t>
            </a:r>
          </a:p>
        </p:txBody>
      </p:sp>
      <p:sp>
        <p:nvSpPr>
          <p:cNvPr id="15" name="object 18">
            <a:extLst>
              <a:ext uri="{FF2B5EF4-FFF2-40B4-BE49-F238E27FC236}">
                <a16:creationId xmlns:a16="http://schemas.microsoft.com/office/drawing/2014/main" id="{F228B566-9CC1-AABA-FFC4-7CEC3DADCB9B}"/>
              </a:ext>
            </a:extLst>
          </p:cNvPr>
          <p:cNvSpPr/>
          <p:nvPr/>
        </p:nvSpPr>
        <p:spPr>
          <a:xfrm flipV="1">
            <a:off x="3100312" y="2934509"/>
            <a:ext cx="2635007" cy="45719"/>
          </a:xfrm>
          <a:custGeom>
            <a:avLst/>
            <a:gdLst/>
            <a:ahLst/>
            <a:cxnLst/>
            <a:rect l="l" t="t" r="r" b="b"/>
            <a:pathLst>
              <a:path w="2763520">
                <a:moveTo>
                  <a:pt x="0" y="0"/>
                </a:moveTo>
                <a:lnTo>
                  <a:pt x="2763503" y="0"/>
                </a:lnTo>
              </a:path>
            </a:pathLst>
          </a:custGeom>
          <a:ln w="12192">
            <a:solidFill>
              <a:schemeClr val="bg2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7">
            <a:extLst>
              <a:ext uri="{FF2B5EF4-FFF2-40B4-BE49-F238E27FC236}">
                <a16:creationId xmlns:a16="http://schemas.microsoft.com/office/drawing/2014/main" id="{641BF9F9-E795-ECB9-CCA8-C2C5F88C919B}"/>
              </a:ext>
            </a:extLst>
          </p:cNvPr>
          <p:cNvSpPr txBox="1"/>
          <p:nvPr/>
        </p:nvSpPr>
        <p:spPr>
          <a:xfrm>
            <a:off x="664454" y="2722404"/>
            <a:ext cx="2435859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400" spc="2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Major milestones</a:t>
            </a:r>
            <a:endParaRPr sz="2400" dirty="0">
              <a:solidFill>
                <a:schemeClr val="bg2">
                  <a:lumMod val="50000"/>
                </a:schemeClr>
              </a:solidFill>
              <a:latin typeface="Georgia" panose="02040502050405020303" pitchFamily="18" charset="0"/>
              <a:cs typeface="Calibri"/>
            </a:endParaRPr>
          </a:p>
        </p:txBody>
      </p:sp>
      <p:sp>
        <p:nvSpPr>
          <p:cNvPr id="17" name="object 10">
            <a:extLst>
              <a:ext uri="{FF2B5EF4-FFF2-40B4-BE49-F238E27FC236}">
                <a16:creationId xmlns:a16="http://schemas.microsoft.com/office/drawing/2014/main" id="{E97BE9CC-7961-87E7-12E3-063856090A77}"/>
              </a:ext>
            </a:extLst>
          </p:cNvPr>
          <p:cNvSpPr txBox="1"/>
          <p:nvPr/>
        </p:nvSpPr>
        <p:spPr>
          <a:xfrm>
            <a:off x="688064" y="3137127"/>
            <a:ext cx="5046747" cy="174342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40665" marR="5080" indent="-228600">
              <a:lnSpc>
                <a:spcPct val="100000"/>
              </a:lnSpc>
              <a:spcBef>
                <a:spcPts val="300"/>
              </a:spcBef>
              <a:buFont typeface="Arial"/>
              <a:buChar char="•"/>
              <a:tabLst>
                <a:tab pos="241300" algn="l"/>
                <a:tab pos="241935" algn="l"/>
              </a:tabLst>
            </a:pPr>
            <a:r>
              <a:rPr lang="en-US" sz="1000" b="1" spc="-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Readiness Sprint </a:t>
            </a:r>
            <a:r>
              <a:rPr lang="en-US" sz="1000" spc="-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Acceleras identifies gaps and actionable initiatives to achieve data quality and AI system reliability</a:t>
            </a:r>
          </a:p>
          <a:p>
            <a:pPr marL="240665" marR="5080" indent="-228600">
              <a:spcBef>
                <a:spcPts val="300"/>
              </a:spcBef>
              <a:buFont typeface="Arial"/>
              <a:buChar char="•"/>
              <a:tabLst>
                <a:tab pos="241300" algn="l"/>
                <a:tab pos="241935" algn="l"/>
              </a:tabLst>
            </a:pPr>
            <a:r>
              <a:rPr lang="en-US" sz="1000" b="1" spc="-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terns &amp; Process Design </a:t>
            </a:r>
            <a:r>
              <a:rPr lang="en-US" sz="1000" spc="-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Hands-on sessions with DevOps teams to outline legacy and novel system strategies</a:t>
            </a:r>
            <a:endParaRPr lang="en-US" sz="1000" b="1" spc="-5" dirty="0">
              <a:solidFill>
                <a:srgbClr val="5A5B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40665" marR="5080" indent="-228600">
              <a:lnSpc>
                <a:spcPct val="100000"/>
              </a:lnSpc>
              <a:spcBef>
                <a:spcPts val="300"/>
              </a:spcBef>
              <a:buFont typeface="Arial"/>
              <a:buChar char="•"/>
              <a:tabLst>
                <a:tab pos="241300" algn="l"/>
                <a:tab pos="241935" algn="l"/>
              </a:tabLst>
            </a:pPr>
            <a:r>
              <a:rPr lang="en-US" sz="1000" b="1" spc="-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cation-Level Wishlist </a:t>
            </a:r>
            <a:r>
              <a:rPr lang="en-US" sz="1000" spc="-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Committees decides on 3</a:t>
            </a:r>
            <a:r>
              <a:rPr lang="en-US" sz="1000" spc="-5" baseline="30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d</a:t>
            </a:r>
            <a:r>
              <a:rPr lang="en-US" sz="1000" spc="-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arty targets, tailored LLM approaches, and ground up model training projects</a:t>
            </a:r>
          </a:p>
          <a:p>
            <a:pPr marL="240665" marR="5080" indent="-228600">
              <a:lnSpc>
                <a:spcPct val="100000"/>
              </a:lnSpc>
              <a:spcBef>
                <a:spcPts val="300"/>
              </a:spcBef>
              <a:buFont typeface="Arial"/>
              <a:buChar char="•"/>
              <a:tabLst>
                <a:tab pos="241300" algn="l"/>
                <a:tab pos="241935" algn="l"/>
              </a:tabLst>
            </a:pPr>
            <a:r>
              <a:rPr lang="en-US" sz="1000" b="1" spc="-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-year Technical Roadmap </a:t>
            </a:r>
            <a:r>
              <a:rPr lang="en-US" sz="1000" spc="-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Steering committee confirms KPI/ OKR alignment, oversight committee confirms development feasibility</a:t>
            </a:r>
            <a:endParaRPr lang="en-US" sz="1000" b="1" spc="-5" dirty="0">
              <a:solidFill>
                <a:srgbClr val="5A5B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065" marR="5080">
              <a:lnSpc>
                <a:spcPct val="100000"/>
              </a:lnSpc>
              <a:spcBef>
                <a:spcPts val="300"/>
              </a:spcBef>
              <a:tabLst>
                <a:tab pos="241300" algn="l"/>
                <a:tab pos="241935" algn="l"/>
              </a:tabLst>
            </a:pPr>
            <a:endParaRPr lang="en-US" sz="1000" b="1" spc="-5" dirty="0">
              <a:solidFill>
                <a:srgbClr val="5A5B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40665" marR="5080" indent="-228600">
              <a:lnSpc>
                <a:spcPct val="100000"/>
              </a:lnSpc>
              <a:spcBef>
                <a:spcPts val="300"/>
              </a:spcBef>
              <a:buFont typeface="Arial"/>
              <a:buChar char="•"/>
              <a:tabLst>
                <a:tab pos="241300" algn="l"/>
                <a:tab pos="241935" algn="l"/>
              </a:tabLst>
            </a:pPr>
            <a:endParaRPr lang="en-US" sz="1000" spc="-5" dirty="0">
              <a:solidFill>
                <a:srgbClr val="5A5B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object 22">
            <a:extLst>
              <a:ext uri="{FF2B5EF4-FFF2-40B4-BE49-F238E27FC236}">
                <a16:creationId xmlns:a16="http://schemas.microsoft.com/office/drawing/2014/main" id="{C031058E-644E-2874-8B9B-FC303122E917}"/>
              </a:ext>
            </a:extLst>
          </p:cNvPr>
          <p:cNvSpPr/>
          <p:nvPr/>
        </p:nvSpPr>
        <p:spPr>
          <a:xfrm>
            <a:off x="7431275" y="594908"/>
            <a:ext cx="996950" cy="323215"/>
          </a:xfrm>
          <a:custGeom>
            <a:avLst/>
            <a:gdLst/>
            <a:ahLst/>
            <a:cxnLst/>
            <a:rect l="l" t="t" r="r" b="b"/>
            <a:pathLst>
              <a:path w="996950" h="323215">
                <a:moveTo>
                  <a:pt x="0" y="53848"/>
                </a:moveTo>
                <a:lnTo>
                  <a:pt x="4231" y="32886"/>
                </a:lnTo>
                <a:lnTo>
                  <a:pt x="15770" y="15770"/>
                </a:lnTo>
                <a:lnTo>
                  <a:pt x="32886" y="4231"/>
                </a:lnTo>
                <a:lnTo>
                  <a:pt x="53848" y="0"/>
                </a:lnTo>
                <a:lnTo>
                  <a:pt x="942847" y="0"/>
                </a:lnTo>
                <a:lnTo>
                  <a:pt x="963809" y="4231"/>
                </a:lnTo>
                <a:lnTo>
                  <a:pt x="980925" y="15770"/>
                </a:lnTo>
                <a:lnTo>
                  <a:pt x="992464" y="32886"/>
                </a:lnTo>
                <a:lnTo>
                  <a:pt x="996696" y="53848"/>
                </a:lnTo>
                <a:lnTo>
                  <a:pt x="996696" y="269240"/>
                </a:lnTo>
                <a:lnTo>
                  <a:pt x="992464" y="290201"/>
                </a:lnTo>
                <a:lnTo>
                  <a:pt x="980925" y="307317"/>
                </a:lnTo>
                <a:lnTo>
                  <a:pt x="963809" y="318856"/>
                </a:lnTo>
                <a:lnTo>
                  <a:pt x="942847" y="323088"/>
                </a:lnTo>
                <a:lnTo>
                  <a:pt x="53848" y="323088"/>
                </a:lnTo>
                <a:lnTo>
                  <a:pt x="32886" y="318856"/>
                </a:lnTo>
                <a:lnTo>
                  <a:pt x="15770" y="307317"/>
                </a:lnTo>
                <a:lnTo>
                  <a:pt x="4231" y="290201"/>
                </a:lnTo>
                <a:lnTo>
                  <a:pt x="0" y="269240"/>
                </a:lnTo>
                <a:lnTo>
                  <a:pt x="0" y="53848"/>
                </a:lnTo>
                <a:close/>
              </a:path>
            </a:pathLst>
          </a:custGeom>
          <a:solidFill>
            <a:schemeClr val="bg1"/>
          </a:solidFill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srgbClr val="8B0000"/>
              </a:solidFill>
            </a:endParaRPr>
          </a:p>
        </p:txBody>
      </p:sp>
      <p:sp>
        <p:nvSpPr>
          <p:cNvPr id="19" name="object 23">
            <a:extLst>
              <a:ext uri="{FF2B5EF4-FFF2-40B4-BE49-F238E27FC236}">
                <a16:creationId xmlns:a16="http://schemas.microsoft.com/office/drawing/2014/main" id="{13FC6538-9A3F-3ADD-9EED-418FACCBB678}"/>
              </a:ext>
            </a:extLst>
          </p:cNvPr>
          <p:cNvSpPr txBox="1"/>
          <p:nvPr/>
        </p:nvSpPr>
        <p:spPr>
          <a:xfrm>
            <a:off x="7501592" y="669312"/>
            <a:ext cx="926633" cy="17440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050" dirty="0">
                <a:solidFill>
                  <a:srgbClr val="8B0000"/>
                </a:solidFill>
                <a:latin typeface="Calibri"/>
                <a:cs typeface="Calibri"/>
              </a:rPr>
              <a:t>Roadmap Dev.</a:t>
            </a:r>
            <a:endParaRPr sz="1050" dirty="0">
              <a:solidFill>
                <a:srgbClr val="8B0000"/>
              </a:solidFill>
              <a:latin typeface="Calibri"/>
              <a:cs typeface="Calibri"/>
            </a:endParaRPr>
          </a:p>
        </p:txBody>
      </p:sp>
      <p:sp>
        <p:nvSpPr>
          <p:cNvPr id="20" name="object 28">
            <a:extLst>
              <a:ext uri="{FF2B5EF4-FFF2-40B4-BE49-F238E27FC236}">
                <a16:creationId xmlns:a16="http://schemas.microsoft.com/office/drawing/2014/main" id="{B667F4F1-4363-2983-E0DF-C42AC179A470}"/>
              </a:ext>
            </a:extLst>
          </p:cNvPr>
          <p:cNvSpPr/>
          <p:nvPr/>
        </p:nvSpPr>
        <p:spPr>
          <a:xfrm>
            <a:off x="8508490" y="594909"/>
            <a:ext cx="995680" cy="323215"/>
          </a:xfrm>
          <a:custGeom>
            <a:avLst/>
            <a:gdLst/>
            <a:ahLst/>
            <a:cxnLst/>
            <a:rect l="l" t="t" r="r" b="b"/>
            <a:pathLst>
              <a:path w="995679" h="323215">
                <a:moveTo>
                  <a:pt x="0" y="53848"/>
                </a:moveTo>
                <a:lnTo>
                  <a:pt x="4231" y="32886"/>
                </a:lnTo>
                <a:lnTo>
                  <a:pt x="15770" y="15770"/>
                </a:lnTo>
                <a:lnTo>
                  <a:pt x="32886" y="4231"/>
                </a:lnTo>
                <a:lnTo>
                  <a:pt x="53848" y="0"/>
                </a:lnTo>
                <a:lnTo>
                  <a:pt x="941324" y="0"/>
                </a:lnTo>
                <a:lnTo>
                  <a:pt x="962285" y="4231"/>
                </a:lnTo>
                <a:lnTo>
                  <a:pt x="979401" y="15770"/>
                </a:lnTo>
                <a:lnTo>
                  <a:pt x="990940" y="32886"/>
                </a:lnTo>
                <a:lnTo>
                  <a:pt x="995172" y="53848"/>
                </a:lnTo>
                <a:lnTo>
                  <a:pt x="995172" y="269240"/>
                </a:lnTo>
                <a:lnTo>
                  <a:pt x="990940" y="290201"/>
                </a:lnTo>
                <a:lnTo>
                  <a:pt x="979401" y="307317"/>
                </a:lnTo>
                <a:lnTo>
                  <a:pt x="962285" y="318856"/>
                </a:lnTo>
                <a:lnTo>
                  <a:pt x="941324" y="323088"/>
                </a:lnTo>
                <a:lnTo>
                  <a:pt x="53848" y="323088"/>
                </a:lnTo>
                <a:lnTo>
                  <a:pt x="32886" y="318856"/>
                </a:lnTo>
                <a:lnTo>
                  <a:pt x="15770" y="307317"/>
                </a:lnTo>
                <a:lnTo>
                  <a:pt x="4231" y="290201"/>
                </a:lnTo>
                <a:lnTo>
                  <a:pt x="0" y="269240"/>
                </a:lnTo>
                <a:lnTo>
                  <a:pt x="0" y="53848"/>
                </a:lnTo>
                <a:close/>
              </a:path>
            </a:pathLst>
          </a:custGeom>
          <a:solidFill>
            <a:srgbClr val="8B0000"/>
          </a:solidFill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schemeClr val="bg1"/>
              </a:solidFill>
            </a:endParaRPr>
          </a:p>
        </p:txBody>
      </p:sp>
      <p:sp>
        <p:nvSpPr>
          <p:cNvPr id="35" name="object 29">
            <a:extLst>
              <a:ext uri="{FF2B5EF4-FFF2-40B4-BE49-F238E27FC236}">
                <a16:creationId xmlns:a16="http://schemas.microsoft.com/office/drawing/2014/main" id="{361FB4A0-2D44-AAA4-6052-8263AE7E6CA1}"/>
              </a:ext>
            </a:extLst>
          </p:cNvPr>
          <p:cNvSpPr txBox="1"/>
          <p:nvPr/>
        </p:nvSpPr>
        <p:spPr>
          <a:xfrm>
            <a:off x="8692118" y="669313"/>
            <a:ext cx="628424" cy="174407"/>
          </a:xfrm>
          <a:prstGeom prst="rect">
            <a:avLst/>
          </a:prstGeom>
          <a:solidFill>
            <a:srgbClr val="8B0000"/>
          </a:solidFill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050" spc="-30" dirty="0">
                <a:solidFill>
                  <a:schemeClr val="bg1"/>
                </a:solidFill>
                <a:latin typeface="Calibri"/>
                <a:cs typeface="Calibri"/>
              </a:rPr>
              <a:t>Preparation</a:t>
            </a:r>
            <a:endParaRPr sz="105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36" name="object 13">
            <a:extLst>
              <a:ext uri="{FF2B5EF4-FFF2-40B4-BE49-F238E27FC236}">
                <a16:creationId xmlns:a16="http://schemas.microsoft.com/office/drawing/2014/main" id="{ED1FF303-BF7C-A4F7-26AB-86FD396FB4D6}"/>
              </a:ext>
            </a:extLst>
          </p:cNvPr>
          <p:cNvSpPr/>
          <p:nvPr/>
        </p:nvSpPr>
        <p:spPr>
          <a:xfrm>
            <a:off x="3309368" y="4909044"/>
            <a:ext cx="2432685" cy="266700"/>
          </a:xfrm>
          <a:custGeom>
            <a:avLst/>
            <a:gdLst/>
            <a:ahLst/>
            <a:cxnLst/>
            <a:rect l="l" t="t" r="r" b="b"/>
            <a:pathLst>
              <a:path w="2432685" h="266700">
                <a:moveTo>
                  <a:pt x="2387854" y="0"/>
                </a:moveTo>
                <a:lnTo>
                  <a:pt x="44450" y="0"/>
                </a:lnTo>
                <a:lnTo>
                  <a:pt x="27148" y="3493"/>
                </a:lnTo>
                <a:lnTo>
                  <a:pt x="13019" y="13019"/>
                </a:lnTo>
                <a:lnTo>
                  <a:pt x="3493" y="27148"/>
                </a:lnTo>
                <a:lnTo>
                  <a:pt x="0" y="44450"/>
                </a:lnTo>
                <a:lnTo>
                  <a:pt x="0" y="222250"/>
                </a:lnTo>
                <a:lnTo>
                  <a:pt x="3493" y="239551"/>
                </a:lnTo>
                <a:lnTo>
                  <a:pt x="13019" y="253680"/>
                </a:lnTo>
                <a:lnTo>
                  <a:pt x="27148" y="263206"/>
                </a:lnTo>
                <a:lnTo>
                  <a:pt x="44450" y="266700"/>
                </a:lnTo>
                <a:lnTo>
                  <a:pt x="2387854" y="266700"/>
                </a:lnTo>
                <a:lnTo>
                  <a:pt x="2405155" y="263206"/>
                </a:lnTo>
                <a:lnTo>
                  <a:pt x="2419284" y="253680"/>
                </a:lnTo>
                <a:lnTo>
                  <a:pt x="2428810" y="239551"/>
                </a:lnTo>
                <a:lnTo>
                  <a:pt x="2432304" y="222250"/>
                </a:lnTo>
                <a:lnTo>
                  <a:pt x="2432304" y="44450"/>
                </a:lnTo>
                <a:lnTo>
                  <a:pt x="2428810" y="27148"/>
                </a:lnTo>
                <a:lnTo>
                  <a:pt x="2419284" y="13019"/>
                </a:lnTo>
                <a:lnTo>
                  <a:pt x="2405155" y="3493"/>
                </a:lnTo>
                <a:lnTo>
                  <a:pt x="2387854" y="0"/>
                </a:lnTo>
                <a:close/>
              </a:path>
            </a:pathLst>
          </a:custGeom>
          <a:solidFill>
            <a:srgbClr val="8B0000"/>
          </a:solidFill>
        </p:spPr>
        <p:txBody>
          <a:bodyPr wrap="square" lIns="0" tIns="0" rIns="0" bIns="0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r Team</a:t>
            </a:r>
            <a:endParaRPr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37B4877-9244-F186-0BE9-F4993E923B3A}"/>
              </a:ext>
            </a:extLst>
          </p:cNvPr>
          <p:cNvSpPr txBox="1"/>
          <p:nvPr/>
        </p:nvSpPr>
        <p:spPr>
          <a:xfrm>
            <a:off x="3278552" y="5175744"/>
            <a:ext cx="2614098" cy="15770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ist in data due diligence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ent DevOps documentation</a:t>
            </a:r>
          </a:p>
          <a:p>
            <a:pPr marL="285750" indent="-285750">
              <a:lnSpc>
                <a:spcPts val="14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e capability expectations to market solution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istic project outlook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s wish list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-year roadmap review &amp; approval</a:t>
            </a:r>
          </a:p>
        </p:txBody>
      </p:sp>
      <p:sp>
        <p:nvSpPr>
          <p:cNvPr id="38" name="object 24">
            <a:extLst>
              <a:ext uri="{FF2B5EF4-FFF2-40B4-BE49-F238E27FC236}">
                <a16:creationId xmlns:a16="http://schemas.microsoft.com/office/drawing/2014/main" id="{45ED0549-5004-8155-9DF9-8AB611333697}"/>
              </a:ext>
            </a:extLst>
          </p:cNvPr>
          <p:cNvSpPr/>
          <p:nvPr/>
        </p:nvSpPr>
        <p:spPr>
          <a:xfrm>
            <a:off x="9584435" y="595883"/>
            <a:ext cx="995680" cy="323215"/>
          </a:xfrm>
          <a:custGeom>
            <a:avLst/>
            <a:gdLst/>
            <a:ahLst/>
            <a:cxnLst/>
            <a:rect l="l" t="t" r="r" b="b"/>
            <a:pathLst>
              <a:path w="995679" h="323215">
                <a:moveTo>
                  <a:pt x="0" y="53848"/>
                </a:moveTo>
                <a:lnTo>
                  <a:pt x="4231" y="32886"/>
                </a:lnTo>
                <a:lnTo>
                  <a:pt x="15770" y="15770"/>
                </a:lnTo>
                <a:lnTo>
                  <a:pt x="32886" y="4231"/>
                </a:lnTo>
                <a:lnTo>
                  <a:pt x="53848" y="0"/>
                </a:lnTo>
                <a:lnTo>
                  <a:pt x="941324" y="0"/>
                </a:lnTo>
                <a:lnTo>
                  <a:pt x="962285" y="4231"/>
                </a:lnTo>
                <a:lnTo>
                  <a:pt x="979401" y="15770"/>
                </a:lnTo>
                <a:lnTo>
                  <a:pt x="990940" y="32886"/>
                </a:lnTo>
                <a:lnTo>
                  <a:pt x="995172" y="53848"/>
                </a:lnTo>
                <a:lnTo>
                  <a:pt x="995172" y="269240"/>
                </a:lnTo>
                <a:lnTo>
                  <a:pt x="990940" y="290201"/>
                </a:lnTo>
                <a:lnTo>
                  <a:pt x="979401" y="307317"/>
                </a:lnTo>
                <a:lnTo>
                  <a:pt x="962285" y="318856"/>
                </a:lnTo>
                <a:lnTo>
                  <a:pt x="941324" y="323088"/>
                </a:lnTo>
                <a:lnTo>
                  <a:pt x="53848" y="323088"/>
                </a:lnTo>
                <a:lnTo>
                  <a:pt x="32886" y="318856"/>
                </a:lnTo>
                <a:lnTo>
                  <a:pt x="15770" y="307317"/>
                </a:lnTo>
                <a:lnTo>
                  <a:pt x="4231" y="290201"/>
                </a:lnTo>
                <a:lnTo>
                  <a:pt x="0" y="269240"/>
                </a:lnTo>
                <a:lnTo>
                  <a:pt x="0" y="53848"/>
                </a:lnTo>
                <a:close/>
              </a:path>
            </a:pathLst>
          </a:custGeom>
          <a:solidFill>
            <a:srgbClr val="8B0000"/>
          </a:solidFill>
          <a:ln w="9144">
            <a:solidFill>
              <a:srgbClr val="FFFFFF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en-US" sz="105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ecution</a:t>
            </a:r>
            <a:endParaRPr sz="105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2736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56">
            <a:extLst>
              <a:ext uri="{FF2B5EF4-FFF2-40B4-BE49-F238E27FC236}">
                <a16:creationId xmlns:a16="http://schemas.microsoft.com/office/drawing/2014/main" id="{E36F608D-9140-2F36-CDA6-A50E0BA862D8}"/>
              </a:ext>
            </a:extLst>
          </p:cNvPr>
          <p:cNvSpPr/>
          <p:nvPr/>
        </p:nvSpPr>
        <p:spPr>
          <a:xfrm>
            <a:off x="6043421" y="0"/>
            <a:ext cx="6228587" cy="6858000"/>
          </a:xfrm>
          <a:prstGeom prst="rect">
            <a:avLst/>
          </a:prstGeom>
          <a:solidFill>
            <a:srgbClr val="8B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669603" y="473482"/>
            <a:ext cx="2607251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3600" spc="-10" dirty="0">
                <a:solidFill>
                  <a:srgbClr val="8B0000"/>
                </a:solidFill>
                <a:latin typeface="Georgia" panose="02040502050405020303" pitchFamily="18" charset="0"/>
              </a:rPr>
              <a:t>Preparation</a:t>
            </a:r>
            <a:endParaRPr sz="3600" dirty="0">
              <a:solidFill>
                <a:srgbClr val="8B0000"/>
              </a:solidFill>
              <a:latin typeface="Georgia" panose="02040502050405020303" pitchFamily="18" charset="0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7431275" y="594908"/>
            <a:ext cx="996950" cy="323215"/>
          </a:xfrm>
          <a:custGeom>
            <a:avLst/>
            <a:gdLst/>
            <a:ahLst/>
            <a:cxnLst/>
            <a:rect l="l" t="t" r="r" b="b"/>
            <a:pathLst>
              <a:path w="996950" h="323215">
                <a:moveTo>
                  <a:pt x="0" y="53848"/>
                </a:moveTo>
                <a:lnTo>
                  <a:pt x="4231" y="32886"/>
                </a:lnTo>
                <a:lnTo>
                  <a:pt x="15770" y="15770"/>
                </a:lnTo>
                <a:lnTo>
                  <a:pt x="32886" y="4231"/>
                </a:lnTo>
                <a:lnTo>
                  <a:pt x="53848" y="0"/>
                </a:lnTo>
                <a:lnTo>
                  <a:pt x="942847" y="0"/>
                </a:lnTo>
                <a:lnTo>
                  <a:pt x="963809" y="4231"/>
                </a:lnTo>
                <a:lnTo>
                  <a:pt x="980925" y="15770"/>
                </a:lnTo>
                <a:lnTo>
                  <a:pt x="992464" y="32886"/>
                </a:lnTo>
                <a:lnTo>
                  <a:pt x="996696" y="53848"/>
                </a:lnTo>
                <a:lnTo>
                  <a:pt x="996696" y="269240"/>
                </a:lnTo>
                <a:lnTo>
                  <a:pt x="992464" y="290201"/>
                </a:lnTo>
                <a:lnTo>
                  <a:pt x="980925" y="307317"/>
                </a:lnTo>
                <a:lnTo>
                  <a:pt x="963809" y="318856"/>
                </a:lnTo>
                <a:lnTo>
                  <a:pt x="942847" y="323088"/>
                </a:lnTo>
                <a:lnTo>
                  <a:pt x="53848" y="323088"/>
                </a:lnTo>
                <a:lnTo>
                  <a:pt x="32886" y="318856"/>
                </a:lnTo>
                <a:lnTo>
                  <a:pt x="15770" y="307317"/>
                </a:lnTo>
                <a:lnTo>
                  <a:pt x="4231" y="290201"/>
                </a:lnTo>
                <a:lnTo>
                  <a:pt x="0" y="269240"/>
                </a:lnTo>
                <a:lnTo>
                  <a:pt x="0" y="53848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 txBox="1"/>
          <p:nvPr/>
        </p:nvSpPr>
        <p:spPr>
          <a:xfrm>
            <a:off x="7501592" y="669312"/>
            <a:ext cx="926633" cy="17440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050" dirty="0">
                <a:solidFill>
                  <a:schemeClr val="bg1"/>
                </a:solidFill>
                <a:latin typeface="Calibri"/>
                <a:cs typeface="Calibri"/>
              </a:rPr>
              <a:t>Roadmap Dev.</a:t>
            </a:r>
            <a:endParaRPr sz="105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10660380" y="594909"/>
            <a:ext cx="995680" cy="323215"/>
          </a:xfrm>
          <a:custGeom>
            <a:avLst/>
            <a:gdLst/>
            <a:ahLst/>
            <a:cxnLst/>
            <a:rect l="l" t="t" r="r" b="b"/>
            <a:pathLst>
              <a:path w="995679" h="323215">
                <a:moveTo>
                  <a:pt x="0" y="53848"/>
                </a:moveTo>
                <a:lnTo>
                  <a:pt x="4231" y="32886"/>
                </a:lnTo>
                <a:lnTo>
                  <a:pt x="15770" y="15770"/>
                </a:lnTo>
                <a:lnTo>
                  <a:pt x="32886" y="4231"/>
                </a:lnTo>
                <a:lnTo>
                  <a:pt x="53848" y="0"/>
                </a:lnTo>
                <a:lnTo>
                  <a:pt x="941324" y="0"/>
                </a:lnTo>
                <a:lnTo>
                  <a:pt x="962285" y="4231"/>
                </a:lnTo>
                <a:lnTo>
                  <a:pt x="979401" y="15770"/>
                </a:lnTo>
                <a:lnTo>
                  <a:pt x="990940" y="32886"/>
                </a:lnTo>
                <a:lnTo>
                  <a:pt x="995172" y="53848"/>
                </a:lnTo>
                <a:lnTo>
                  <a:pt x="995172" y="269240"/>
                </a:lnTo>
                <a:lnTo>
                  <a:pt x="990940" y="290201"/>
                </a:lnTo>
                <a:lnTo>
                  <a:pt x="979401" y="307317"/>
                </a:lnTo>
                <a:lnTo>
                  <a:pt x="962285" y="318856"/>
                </a:lnTo>
                <a:lnTo>
                  <a:pt x="941324" y="323088"/>
                </a:lnTo>
                <a:lnTo>
                  <a:pt x="53848" y="323088"/>
                </a:lnTo>
                <a:lnTo>
                  <a:pt x="32886" y="318856"/>
                </a:lnTo>
                <a:lnTo>
                  <a:pt x="15770" y="307317"/>
                </a:lnTo>
                <a:lnTo>
                  <a:pt x="4231" y="290201"/>
                </a:lnTo>
                <a:lnTo>
                  <a:pt x="0" y="269240"/>
                </a:lnTo>
                <a:lnTo>
                  <a:pt x="0" y="53848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8508490" y="594909"/>
            <a:ext cx="995680" cy="323215"/>
          </a:xfrm>
          <a:custGeom>
            <a:avLst/>
            <a:gdLst/>
            <a:ahLst/>
            <a:cxnLst/>
            <a:rect l="l" t="t" r="r" b="b"/>
            <a:pathLst>
              <a:path w="995679" h="323215">
                <a:moveTo>
                  <a:pt x="0" y="53848"/>
                </a:moveTo>
                <a:lnTo>
                  <a:pt x="4231" y="32886"/>
                </a:lnTo>
                <a:lnTo>
                  <a:pt x="15770" y="15770"/>
                </a:lnTo>
                <a:lnTo>
                  <a:pt x="32886" y="4231"/>
                </a:lnTo>
                <a:lnTo>
                  <a:pt x="53848" y="0"/>
                </a:lnTo>
                <a:lnTo>
                  <a:pt x="941324" y="0"/>
                </a:lnTo>
                <a:lnTo>
                  <a:pt x="962285" y="4231"/>
                </a:lnTo>
                <a:lnTo>
                  <a:pt x="979401" y="15770"/>
                </a:lnTo>
                <a:lnTo>
                  <a:pt x="990940" y="32886"/>
                </a:lnTo>
                <a:lnTo>
                  <a:pt x="995172" y="53848"/>
                </a:lnTo>
                <a:lnTo>
                  <a:pt x="995172" y="269240"/>
                </a:lnTo>
                <a:lnTo>
                  <a:pt x="990940" y="290201"/>
                </a:lnTo>
                <a:lnTo>
                  <a:pt x="979401" y="307317"/>
                </a:lnTo>
                <a:lnTo>
                  <a:pt x="962285" y="318856"/>
                </a:lnTo>
                <a:lnTo>
                  <a:pt x="941324" y="323088"/>
                </a:lnTo>
                <a:lnTo>
                  <a:pt x="53848" y="323088"/>
                </a:lnTo>
                <a:lnTo>
                  <a:pt x="32886" y="318856"/>
                </a:lnTo>
                <a:lnTo>
                  <a:pt x="15770" y="307317"/>
                </a:lnTo>
                <a:lnTo>
                  <a:pt x="4231" y="290201"/>
                </a:lnTo>
                <a:lnTo>
                  <a:pt x="0" y="269240"/>
                </a:lnTo>
                <a:lnTo>
                  <a:pt x="0" y="53848"/>
                </a:lnTo>
                <a:close/>
              </a:path>
            </a:pathLst>
          </a:custGeom>
          <a:solidFill>
            <a:schemeClr val="bg1"/>
          </a:solidFill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srgbClr val="8B0000"/>
              </a:solidFill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8692118" y="669313"/>
            <a:ext cx="628424" cy="17440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050" spc="-30" dirty="0">
                <a:solidFill>
                  <a:srgbClr val="8B0000"/>
                </a:solidFill>
                <a:latin typeface="Calibri"/>
                <a:cs typeface="Calibri"/>
              </a:rPr>
              <a:t>Preparation</a:t>
            </a:r>
            <a:endParaRPr sz="1050" dirty="0">
              <a:solidFill>
                <a:srgbClr val="8B0000"/>
              </a:solidFill>
              <a:latin typeface="Calibri"/>
              <a:cs typeface="Calibri"/>
            </a:endParaRPr>
          </a:p>
        </p:txBody>
      </p:sp>
      <p:grpSp>
        <p:nvGrpSpPr>
          <p:cNvPr id="30" name="object 30"/>
          <p:cNvGrpSpPr/>
          <p:nvPr/>
        </p:nvGrpSpPr>
        <p:grpSpPr>
          <a:xfrm>
            <a:off x="6353365" y="591121"/>
            <a:ext cx="1005205" cy="332740"/>
            <a:chOff x="6353365" y="591121"/>
            <a:chExt cx="1005205" cy="332740"/>
          </a:xfrm>
          <a:solidFill>
            <a:srgbClr val="8B0000"/>
          </a:solidFill>
        </p:grpSpPr>
        <p:sp>
          <p:nvSpPr>
            <p:cNvPr id="31" name="object 31"/>
            <p:cNvSpPr/>
            <p:nvPr/>
          </p:nvSpPr>
          <p:spPr>
            <a:xfrm>
              <a:off x="6358128" y="595883"/>
              <a:ext cx="995680" cy="323215"/>
            </a:xfrm>
            <a:custGeom>
              <a:avLst/>
              <a:gdLst/>
              <a:ahLst/>
              <a:cxnLst/>
              <a:rect l="l" t="t" r="r" b="b"/>
              <a:pathLst>
                <a:path w="995679" h="323215">
                  <a:moveTo>
                    <a:pt x="941324" y="0"/>
                  </a:moveTo>
                  <a:lnTo>
                    <a:pt x="53848" y="0"/>
                  </a:lnTo>
                  <a:lnTo>
                    <a:pt x="32886" y="4231"/>
                  </a:lnTo>
                  <a:lnTo>
                    <a:pt x="15770" y="15770"/>
                  </a:lnTo>
                  <a:lnTo>
                    <a:pt x="4231" y="32886"/>
                  </a:lnTo>
                  <a:lnTo>
                    <a:pt x="0" y="53848"/>
                  </a:lnTo>
                  <a:lnTo>
                    <a:pt x="0" y="269240"/>
                  </a:lnTo>
                  <a:lnTo>
                    <a:pt x="4231" y="290201"/>
                  </a:lnTo>
                  <a:lnTo>
                    <a:pt x="15770" y="307317"/>
                  </a:lnTo>
                  <a:lnTo>
                    <a:pt x="32886" y="318856"/>
                  </a:lnTo>
                  <a:lnTo>
                    <a:pt x="53848" y="323088"/>
                  </a:lnTo>
                  <a:lnTo>
                    <a:pt x="941324" y="323088"/>
                  </a:lnTo>
                  <a:lnTo>
                    <a:pt x="962285" y="318856"/>
                  </a:lnTo>
                  <a:lnTo>
                    <a:pt x="979401" y="307317"/>
                  </a:lnTo>
                  <a:lnTo>
                    <a:pt x="990940" y="290201"/>
                  </a:lnTo>
                  <a:lnTo>
                    <a:pt x="995172" y="269240"/>
                  </a:lnTo>
                  <a:lnTo>
                    <a:pt x="995172" y="53848"/>
                  </a:lnTo>
                  <a:lnTo>
                    <a:pt x="990940" y="32886"/>
                  </a:lnTo>
                  <a:lnTo>
                    <a:pt x="979401" y="15770"/>
                  </a:lnTo>
                  <a:lnTo>
                    <a:pt x="962285" y="4231"/>
                  </a:lnTo>
                  <a:lnTo>
                    <a:pt x="941324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schemeClr val="bg1"/>
                </a:solidFill>
              </a:endParaRPr>
            </a:p>
          </p:txBody>
        </p:sp>
        <p:sp>
          <p:nvSpPr>
            <p:cNvPr id="32" name="object 32"/>
            <p:cNvSpPr/>
            <p:nvPr/>
          </p:nvSpPr>
          <p:spPr>
            <a:xfrm>
              <a:off x="6358128" y="595883"/>
              <a:ext cx="995680" cy="323215"/>
            </a:xfrm>
            <a:custGeom>
              <a:avLst/>
              <a:gdLst/>
              <a:ahLst/>
              <a:cxnLst/>
              <a:rect l="l" t="t" r="r" b="b"/>
              <a:pathLst>
                <a:path w="995679" h="323215">
                  <a:moveTo>
                    <a:pt x="0" y="53848"/>
                  </a:moveTo>
                  <a:lnTo>
                    <a:pt x="4231" y="32886"/>
                  </a:lnTo>
                  <a:lnTo>
                    <a:pt x="15770" y="15770"/>
                  </a:lnTo>
                  <a:lnTo>
                    <a:pt x="32886" y="4231"/>
                  </a:lnTo>
                  <a:lnTo>
                    <a:pt x="53848" y="0"/>
                  </a:lnTo>
                  <a:lnTo>
                    <a:pt x="941324" y="0"/>
                  </a:lnTo>
                  <a:lnTo>
                    <a:pt x="962285" y="4231"/>
                  </a:lnTo>
                  <a:lnTo>
                    <a:pt x="979401" y="15770"/>
                  </a:lnTo>
                  <a:lnTo>
                    <a:pt x="990940" y="32886"/>
                  </a:lnTo>
                  <a:lnTo>
                    <a:pt x="995172" y="53848"/>
                  </a:lnTo>
                  <a:lnTo>
                    <a:pt x="995172" y="269240"/>
                  </a:lnTo>
                  <a:lnTo>
                    <a:pt x="990940" y="290201"/>
                  </a:lnTo>
                  <a:lnTo>
                    <a:pt x="979401" y="307317"/>
                  </a:lnTo>
                  <a:lnTo>
                    <a:pt x="962285" y="318856"/>
                  </a:lnTo>
                  <a:lnTo>
                    <a:pt x="941324" y="323088"/>
                  </a:lnTo>
                  <a:lnTo>
                    <a:pt x="53848" y="323088"/>
                  </a:lnTo>
                  <a:lnTo>
                    <a:pt x="32886" y="318856"/>
                  </a:lnTo>
                  <a:lnTo>
                    <a:pt x="15770" y="307317"/>
                  </a:lnTo>
                  <a:lnTo>
                    <a:pt x="4231" y="290201"/>
                  </a:lnTo>
                  <a:lnTo>
                    <a:pt x="0" y="269240"/>
                  </a:lnTo>
                  <a:lnTo>
                    <a:pt x="0" y="53848"/>
                  </a:lnTo>
                  <a:close/>
                </a:path>
              </a:pathLst>
            </a:custGeom>
            <a:grpFill/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schemeClr val="bg1"/>
                </a:solidFill>
              </a:endParaRPr>
            </a:p>
          </p:txBody>
        </p:sp>
      </p:grpSp>
      <p:sp>
        <p:nvSpPr>
          <p:cNvPr id="33" name="object 33"/>
          <p:cNvSpPr txBox="1"/>
          <p:nvPr/>
        </p:nvSpPr>
        <p:spPr>
          <a:xfrm>
            <a:off x="6529012" y="670288"/>
            <a:ext cx="653911" cy="174407"/>
          </a:xfrm>
          <a:prstGeom prst="rect">
            <a:avLst/>
          </a:prstGeom>
          <a:solidFill>
            <a:srgbClr val="8B0000"/>
          </a:solidFill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050" spc="-5" dirty="0">
                <a:solidFill>
                  <a:schemeClr val="bg1"/>
                </a:solidFill>
                <a:latin typeface="Calibri"/>
                <a:cs typeface="Calibri"/>
              </a:rPr>
              <a:t>Foundation</a:t>
            </a:r>
            <a:endParaRPr sz="105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358128" y="1764936"/>
            <a:ext cx="5297805" cy="4422775"/>
          </a:xfrm>
          <a:custGeom>
            <a:avLst/>
            <a:gdLst/>
            <a:ahLst/>
            <a:cxnLst/>
            <a:rect l="l" t="t" r="r" b="b"/>
            <a:pathLst>
              <a:path w="5297805" h="4422775">
                <a:moveTo>
                  <a:pt x="5084114" y="0"/>
                </a:moveTo>
                <a:lnTo>
                  <a:pt x="213309" y="0"/>
                </a:lnTo>
                <a:lnTo>
                  <a:pt x="164400" y="5633"/>
                </a:lnTo>
                <a:lnTo>
                  <a:pt x="119502" y="21681"/>
                </a:lnTo>
                <a:lnTo>
                  <a:pt x="79896" y="46862"/>
                </a:lnTo>
                <a:lnTo>
                  <a:pt x="46862" y="79896"/>
                </a:lnTo>
                <a:lnTo>
                  <a:pt x="21681" y="119502"/>
                </a:lnTo>
                <a:lnTo>
                  <a:pt x="5633" y="164400"/>
                </a:lnTo>
                <a:lnTo>
                  <a:pt x="0" y="213309"/>
                </a:lnTo>
                <a:lnTo>
                  <a:pt x="0" y="4209351"/>
                </a:lnTo>
                <a:lnTo>
                  <a:pt x="5633" y="4258259"/>
                </a:lnTo>
                <a:lnTo>
                  <a:pt x="21681" y="4303155"/>
                </a:lnTo>
                <a:lnTo>
                  <a:pt x="46862" y="4342759"/>
                </a:lnTo>
                <a:lnTo>
                  <a:pt x="79896" y="4375790"/>
                </a:lnTo>
                <a:lnTo>
                  <a:pt x="119502" y="4400969"/>
                </a:lnTo>
                <a:lnTo>
                  <a:pt x="164400" y="4417014"/>
                </a:lnTo>
                <a:lnTo>
                  <a:pt x="213309" y="4422648"/>
                </a:lnTo>
                <a:lnTo>
                  <a:pt x="5084114" y="4422648"/>
                </a:lnTo>
                <a:lnTo>
                  <a:pt x="5133023" y="4417014"/>
                </a:lnTo>
                <a:lnTo>
                  <a:pt x="5177921" y="4400969"/>
                </a:lnTo>
                <a:lnTo>
                  <a:pt x="5217527" y="4375790"/>
                </a:lnTo>
                <a:lnTo>
                  <a:pt x="5250561" y="4342759"/>
                </a:lnTo>
                <a:lnTo>
                  <a:pt x="5275742" y="4303155"/>
                </a:lnTo>
                <a:lnTo>
                  <a:pt x="5291790" y="4258259"/>
                </a:lnTo>
                <a:lnTo>
                  <a:pt x="5297424" y="4209351"/>
                </a:lnTo>
                <a:lnTo>
                  <a:pt x="5297424" y="213309"/>
                </a:lnTo>
                <a:lnTo>
                  <a:pt x="5291790" y="164400"/>
                </a:lnTo>
                <a:lnTo>
                  <a:pt x="5275742" y="119502"/>
                </a:lnTo>
                <a:lnTo>
                  <a:pt x="5250561" y="79896"/>
                </a:lnTo>
                <a:lnTo>
                  <a:pt x="5217527" y="46862"/>
                </a:lnTo>
                <a:lnTo>
                  <a:pt x="5177921" y="21681"/>
                </a:lnTo>
                <a:lnTo>
                  <a:pt x="5133023" y="5633"/>
                </a:lnTo>
                <a:lnTo>
                  <a:pt x="508411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object 21">
            <a:extLst>
              <a:ext uri="{FF2B5EF4-FFF2-40B4-BE49-F238E27FC236}">
                <a16:creationId xmlns:a16="http://schemas.microsoft.com/office/drawing/2014/main" id="{18C4B15D-93EE-0315-4C0F-DDD9874755BB}"/>
              </a:ext>
            </a:extLst>
          </p:cNvPr>
          <p:cNvSpPr txBox="1"/>
          <p:nvPr/>
        </p:nvSpPr>
        <p:spPr>
          <a:xfrm>
            <a:off x="6345495" y="1283275"/>
            <a:ext cx="259969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400" spc="10" dirty="0">
                <a:solidFill>
                  <a:srgbClr val="FFFFFF"/>
                </a:solidFill>
                <a:latin typeface="Georgia" panose="02040502050405020303" pitchFamily="18" charset="0"/>
                <a:cs typeface="Calibri"/>
              </a:rPr>
              <a:t>Timeline</a:t>
            </a:r>
            <a:endParaRPr sz="2400" dirty="0">
              <a:latin typeface="Georgia" panose="02040502050405020303" pitchFamily="18" charset="0"/>
              <a:cs typeface="Calibri"/>
            </a:endParaRPr>
          </a:p>
        </p:txBody>
      </p:sp>
      <p:sp>
        <p:nvSpPr>
          <p:cNvPr id="69" name="object 5">
            <a:extLst>
              <a:ext uri="{FF2B5EF4-FFF2-40B4-BE49-F238E27FC236}">
                <a16:creationId xmlns:a16="http://schemas.microsoft.com/office/drawing/2014/main" id="{FADB215E-D4BD-E7FD-1A45-CA5CF6F46D33}"/>
              </a:ext>
            </a:extLst>
          </p:cNvPr>
          <p:cNvSpPr/>
          <p:nvPr/>
        </p:nvSpPr>
        <p:spPr>
          <a:xfrm flipV="1">
            <a:off x="7645371" y="1467145"/>
            <a:ext cx="4010562" cy="45719"/>
          </a:xfrm>
          <a:custGeom>
            <a:avLst/>
            <a:gdLst/>
            <a:ahLst/>
            <a:cxnLst/>
            <a:rect l="l" t="t" r="r" b="b"/>
            <a:pathLst>
              <a:path w="2672079">
                <a:moveTo>
                  <a:pt x="0" y="0"/>
                </a:moveTo>
                <a:lnTo>
                  <a:pt x="2671673" y="0"/>
                </a:lnTo>
              </a:path>
            </a:pathLst>
          </a:custGeom>
          <a:ln w="1219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159BDFE-CA1B-0D45-8787-6A3C4D1D277A}"/>
              </a:ext>
            </a:extLst>
          </p:cNvPr>
          <p:cNvSpPr txBox="1"/>
          <p:nvPr/>
        </p:nvSpPr>
        <p:spPr>
          <a:xfrm>
            <a:off x="595564" y="5293376"/>
            <a:ext cx="2614098" cy="1217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lture transformation strategy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lls training module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k report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cations strategy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ment materials, spend models</a:t>
            </a:r>
          </a:p>
        </p:txBody>
      </p:sp>
      <p:sp>
        <p:nvSpPr>
          <p:cNvPr id="5" name="object 25">
            <a:extLst>
              <a:ext uri="{FF2B5EF4-FFF2-40B4-BE49-F238E27FC236}">
                <a16:creationId xmlns:a16="http://schemas.microsoft.com/office/drawing/2014/main" id="{416191F3-FE57-0470-467C-59F12F463E16}"/>
              </a:ext>
            </a:extLst>
          </p:cNvPr>
          <p:cNvSpPr txBox="1"/>
          <p:nvPr/>
        </p:nvSpPr>
        <p:spPr>
          <a:xfrm>
            <a:off x="10903087" y="669313"/>
            <a:ext cx="510266" cy="17440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050" spc="-5" dirty="0">
                <a:solidFill>
                  <a:srgbClr val="FFFFFF"/>
                </a:solidFill>
                <a:latin typeface="Calibri"/>
                <a:cs typeface="Calibri"/>
              </a:rPr>
              <a:t>Iteration</a:t>
            </a:r>
            <a:endParaRPr sz="1050" dirty="0">
              <a:latin typeface="Calibri"/>
              <a:cs typeface="Calibri"/>
            </a:endParaRPr>
          </a:p>
        </p:txBody>
      </p:sp>
      <p:sp>
        <p:nvSpPr>
          <p:cNvPr id="2" name="object 10">
            <a:extLst>
              <a:ext uri="{FF2B5EF4-FFF2-40B4-BE49-F238E27FC236}">
                <a16:creationId xmlns:a16="http://schemas.microsoft.com/office/drawing/2014/main" id="{BE691D69-9452-D359-5B6C-241E438CBC2E}"/>
              </a:ext>
            </a:extLst>
          </p:cNvPr>
          <p:cNvSpPr txBox="1"/>
          <p:nvPr/>
        </p:nvSpPr>
        <p:spPr>
          <a:xfrm>
            <a:off x="688064" y="3028775"/>
            <a:ext cx="5046747" cy="155106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40665" marR="5080" indent="-228600">
              <a:lnSpc>
                <a:spcPct val="100000"/>
              </a:lnSpc>
              <a:spcBef>
                <a:spcPts val="300"/>
              </a:spcBef>
              <a:buFont typeface="Arial"/>
              <a:buChar char="•"/>
              <a:tabLst>
                <a:tab pos="241300" algn="l"/>
                <a:tab pos="241935" algn="l"/>
              </a:tabLst>
            </a:pPr>
            <a:r>
              <a:rPr lang="en-US" sz="1000" b="1" spc="-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-Hands Corporate Culture Workshops </a:t>
            </a:r>
            <a:r>
              <a:rPr lang="en-US" sz="1000" spc="-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Interactive sessions across all teams to cultivate AI-centric mindset and demo exciting products</a:t>
            </a:r>
            <a:endParaRPr lang="en-US" sz="1000" b="1" spc="-5" dirty="0">
              <a:solidFill>
                <a:srgbClr val="5A5B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40665" marR="5080" indent="-228600">
              <a:lnSpc>
                <a:spcPct val="100000"/>
              </a:lnSpc>
              <a:spcBef>
                <a:spcPts val="300"/>
              </a:spcBef>
              <a:buFont typeface="Arial"/>
              <a:buChar char="•"/>
              <a:tabLst>
                <a:tab pos="241300" algn="l"/>
                <a:tab pos="241935" algn="l"/>
              </a:tabLst>
            </a:pPr>
            <a:r>
              <a:rPr lang="en-US" sz="1000" b="1" spc="-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le Specific Skills Training </a:t>
            </a:r>
            <a:r>
              <a:rPr lang="en-US" sz="1000" spc="-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Focusing on practical AI applications, enterprise GPT usage, prompt engineering, data structuring, and API integrations</a:t>
            </a:r>
            <a:endParaRPr lang="en-US" sz="1000" b="1" spc="-5" dirty="0">
              <a:solidFill>
                <a:srgbClr val="5A5B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40665" marR="5080" indent="-228600">
              <a:lnSpc>
                <a:spcPct val="100000"/>
              </a:lnSpc>
              <a:spcBef>
                <a:spcPts val="300"/>
              </a:spcBef>
              <a:buFont typeface="Arial"/>
              <a:buChar char="•"/>
              <a:tabLst>
                <a:tab pos="241300" algn="l"/>
                <a:tab pos="241935" algn="l"/>
              </a:tabLst>
            </a:pPr>
            <a:r>
              <a:rPr lang="en-US" sz="1000" b="1" spc="-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Disruption &amp; Ethical AI Frameworks </a:t>
            </a:r>
            <a:r>
              <a:rPr lang="en-US" sz="1000" spc="-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Acceleras compiles risk report, risk mitigation strategies are discussed among both committees</a:t>
            </a:r>
          </a:p>
          <a:p>
            <a:pPr marL="240665" marR="5080" indent="-228600">
              <a:lnSpc>
                <a:spcPct val="100000"/>
              </a:lnSpc>
              <a:spcBef>
                <a:spcPts val="300"/>
              </a:spcBef>
              <a:buFont typeface="Arial"/>
              <a:buChar char="•"/>
              <a:tabLst>
                <a:tab pos="241300" algn="l"/>
                <a:tab pos="241935" algn="l"/>
              </a:tabLst>
            </a:pPr>
            <a:r>
              <a:rPr lang="en-US" sz="1000" b="1" spc="-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dget Approval </a:t>
            </a:r>
            <a:r>
              <a:rPr lang="en-US" sz="1000" spc="-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Steering committee and Acceleras coordinate on funding initiatives and resource allocation for final approval</a:t>
            </a:r>
          </a:p>
          <a:p>
            <a:pPr marL="240665" marR="5080" indent="-228600">
              <a:lnSpc>
                <a:spcPct val="100000"/>
              </a:lnSpc>
              <a:spcBef>
                <a:spcPts val="300"/>
              </a:spcBef>
              <a:buFont typeface="Arial"/>
              <a:buChar char="•"/>
              <a:tabLst>
                <a:tab pos="241300" algn="l"/>
                <a:tab pos="241935" algn="l"/>
              </a:tabLst>
            </a:pPr>
            <a:endParaRPr lang="en-US" sz="1000" spc="-5" dirty="0">
              <a:solidFill>
                <a:srgbClr val="5A5B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object 15">
            <a:extLst>
              <a:ext uri="{FF2B5EF4-FFF2-40B4-BE49-F238E27FC236}">
                <a16:creationId xmlns:a16="http://schemas.microsoft.com/office/drawing/2014/main" id="{94F61C6F-7D33-98FF-DEA6-3CE905D06F7C}"/>
              </a:ext>
            </a:extLst>
          </p:cNvPr>
          <p:cNvSpPr txBox="1"/>
          <p:nvPr/>
        </p:nvSpPr>
        <p:spPr>
          <a:xfrm>
            <a:off x="700302" y="1699069"/>
            <a:ext cx="5034509" cy="74315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41300" marR="5715" indent="-229235">
              <a:lnSpc>
                <a:spcPct val="100000"/>
              </a:lnSpc>
              <a:spcBef>
                <a:spcPts val="95"/>
              </a:spcBef>
              <a:buFont typeface="Arial"/>
              <a:buChar char="•"/>
              <a:tabLst>
                <a:tab pos="241300" algn="l"/>
                <a:tab pos="241935" algn="l"/>
              </a:tabLst>
            </a:pPr>
            <a:r>
              <a:rPr sz="1000" spc="1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ary</a:t>
            </a:r>
            <a:r>
              <a:rPr sz="1000" spc="-1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000" spc="2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al</a:t>
            </a:r>
            <a:r>
              <a:rPr sz="1000" spc="-2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000" spc="1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sz="1000" spc="-1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spc="-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cover all bases before fast-paced transformation occurs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40665" marR="5080" indent="-228600">
              <a:lnSpc>
                <a:spcPct val="100000"/>
              </a:lnSpc>
              <a:spcBef>
                <a:spcPts val="300"/>
              </a:spcBef>
              <a:buFont typeface="Arial"/>
              <a:buChar char="•"/>
              <a:tabLst>
                <a:tab pos="241300" algn="l"/>
                <a:tab pos="241935" algn="l"/>
              </a:tabLst>
            </a:pPr>
            <a:r>
              <a:rPr lang="en-US" sz="1000" spc="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olate investment strategies for AI initiative and KPI/OKR alignment</a:t>
            </a:r>
          </a:p>
          <a:p>
            <a:pPr marL="240665" marR="5080" indent="-228600">
              <a:lnSpc>
                <a:spcPct val="100000"/>
              </a:lnSpc>
              <a:spcBef>
                <a:spcPts val="300"/>
              </a:spcBef>
              <a:buFont typeface="Arial"/>
              <a:buChar char="•"/>
              <a:tabLst>
                <a:tab pos="241300" algn="l"/>
                <a:tab pos="241935" algn="l"/>
              </a:tabLst>
            </a:pPr>
            <a:r>
              <a:rPr lang="en-US" sz="1000" spc="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ster a people &amp; change culture with a focus on AI literacy and workforce evolution</a:t>
            </a:r>
          </a:p>
          <a:p>
            <a:pPr marL="240665" marR="5080" indent="-228600">
              <a:lnSpc>
                <a:spcPct val="100000"/>
              </a:lnSpc>
              <a:spcBef>
                <a:spcPts val="300"/>
              </a:spcBef>
              <a:buFont typeface="Arial"/>
              <a:buChar char="•"/>
              <a:tabLst>
                <a:tab pos="241300" algn="l"/>
                <a:tab pos="241935" algn="l"/>
              </a:tabLst>
            </a:pPr>
            <a:r>
              <a:rPr lang="en-US" sz="1000" spc="5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e risk factors across the enterprise and create mitigation strategies</a:t>
            </a:r>
          </a:p>
        </p:txBody>
      </p:sp>
      <p:sp>
        <p:nvSpPr>
          <p:cNvPr id="4" name="object 16">
            <a:extLst>
              <a:ext uri="{FF2B5EF4-FFF2-40B4-BE49-F238E27FC236}">
                <a16:creationId xmlns:a16="http://schemas.microsoft.com/office/drawing/2014/main" id="{3B5E0096-163B-12AB-D0F5-356116D6C4CE}"/>
              </a:ext>
            </a:extLst>
          </p:cNvPr>
          <p:cNvSpPr/>
          <p:nvPr/>
        </p:nvSpPr>
        <p:spPr>
          <a:xfrm>
            <a:off x="2778786" y="1546510"/>
            <a:ext cx="2956025" cy="51022"/>
          </a:xfrm>
          <a:custGeom>
            <a:avLst/>
            <a:gdLst/>
            <a:ahLst/>
            <a:cxnLst/>
            <a:rect l="l" t="t" r="r" b="b"/>
            <a:pathLst>
              <a:path w="2763520">
                <a:moveTo>
                  <a:pt x="0" y="0"/>
                </a:moveTo>
                <a:lnTo>
                  <a:pt x="2763503" y="0"/>
                </a:lnTo>
              </a:path>
            </a:pathLst>
          </a:custGeom>
          <a:ln w="12192">
            <a:solidFill>
              <a:schemeClr val="bg2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22A03B87-59CC-F614-C7AB-B667827D0A3D}"/>
              </a:ext>
            </a:extLst>
          </p:cNvPr>
          <p:cNvSpPr txBox="1"/>
          <p:nvPr/>
        </p:nvSpPr>
        <p:spPr>
          <a:xfrm>
            <a:off x="664455" y="1303909"/>
            <a:ext cx="2171665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2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Phase</a:t>
            </a:r>
            <a:r>
              <a:rPr sz="2400" spc="-135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 </a:t>
            </a:r>
            <a:r>
              <a:rPr lang="en-US" sz="2400" spc="-4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o</a:t>
            </a:r>
            <a:r>
              <a:rPr sz="2400" spc="-4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verview</a:t>
            </a:r>
            <a:endParaRPr sz="2400" dirty="0">
              <a:solidFill>
                <a:schemeClr val="bg2">
                  <a:lumMod val="50000"/>
                </a:schemeClr>
              </a:solidFill>
              <a:latin typeface="Georgia" panose="02040502050405020303" pitchFamily="18" charset="0"/>
              <a:cs typeface="Calibri"/>
            </a:endParaRPr>
          </a:p>
        </p:txBody>
      </p:sp>
      <p:sp>
        <p:nvSpPr>
          <p:cNvPr id="12" name="object 18">
            <a:extLst>
              <a:ext uri="{FF2B5EF4-FFF2-40B4-BE49-F238E27FC236}">
                <a16:creationId xmlns:a16="http://schemas.microsoft.com/office/drawing/2014/main" id="{E0213080-31E8-5960-2F8C-E4A324BE9C5A}"/>
              </a:ext>
            </a:extLst>
          </p:cNvPr>
          <p:cNvSpPr/>
          <p:nvPr/>
        </p:nvSpPr>
        <p:spPr>
          <a:xfrm flipV="1">
            <a:off x="3100312" y="2793362"/>
            <a:ext cx="2635007" cy="45719"/>
          </a:xfrm>
          <a:custGeom>
            <a:avLst/>
            <a:gdLst/>
            <a:ahLst/>
            <a:cxnLst/>
            <a:rect l="l" t="t" r="r" b="b"/>
            <a:pathLst>
              <a:path w="2763520">
                <a:moveTo>
                  <a:pt x="0" y="0"/>
                </a:moveTo>
                <a:lnTo>
                  <a:pt x="2763503" y="0"/>
                </a:lnTo>
              </a:path>
            </a:pathLst>
          </a:custGeom>
          <a:ln w="12192">
            <a:solidFill>
              <a:schemeClr val="bg2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20">
            <a:extLst>
              <a:ext uri="{FF2B5EF4-FFF2-40B4-BE49-F238E27FC236}">
                <a16:creationId xmlns:a16="http://schemas.microsoft.com/office/drawing/2014/main" id="{0459DAB1-756F-72EF-82CD-C388B74800D9}"/>
              </a:ext>
            </a:extLst>
          </p:cNvPr>
          <p:cNvSpPr/>
          <p:nvPr/>
        </p:nvSpPr>
        <p:spPr>
          <a:xfrm flipV="1">
            <a:off x="2946476" y="4738266"/>
            <a:ext cx="2778744" cy="45719"/>
          </a:xfrm>
          <a:custGeom>
            <a:avLst/>
            <a:gdLst/>
            <a:ahLst/>
            <a:cxnLst/>
            <a:rect l="l" t="t" r="r" b="b"/>
            <a:pathLst>
              <a:path w="2898140">
                <a:moveTo>
                  <a:pt x="0" y="0"/>
                </a:moveTo>
                <a:lnTo>
                  <a:pt x="2897615" y="0"/>
                </a:lnTo>
              </a:path>
            </a:pathLst>
          </a:custGeom>
          <a:ln w="12191">
            <a:solidFill>
              <a:schemeClr val="bg2">
                <a:lumMod val="50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7">
            <a:extLst>
              <a:ext uri="{FF2B5EF4-FFF2-40B4-BE49-F238E27FC236}">
                <a16:creationId xmlns:a16="http://schemas.microsoft.com/office/drawing/2014/main" id="{D87628B7-3DED-27D9-21D9-565B0961677E}"/>
              </a:ext>
            </a:extLst>
          </p:cNvPr>
          <p:cNvSpPr txBox="1"/>
          <p:nvPr/>
        </p:nvSpPr>
        <p:spPr>
          <a:xfrm>
            <a:off x="664454" y="2581257"/>
            <a:ext cx="2435859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400" spc="2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Major milestones</a:t>
            </a:r>
            <a:endParaRPr sz="2400" dirty="0">
              <a:solidFill>
                <a:schemeClr val="bg2">
                  <a:lumMod val="50000"/>
                </a:schemeClr>
              </a:solidFill>
              <a:latin typeface="Georgia" panose="02040502050405020303" pitchFamily="18" charset="0"/>
              <a:cs typeface="Calibri"/>
            </a:endParaRPr>
          </a:p>
        </p:txBody>
      </p:sp>
      <p:sp>
        <p:nvSpPr>
          <p:cNvPr id="21" name="object 17">
            <a:extLst>
              <a:ext uri="{FF2B5EF4-FFF2-40B4-BE49-F238E27FC236}">
                <a16:creationId xmlns:a16="http://schemas.microsoft.com/office/drawing/2014/main" id="{4E4EA5E4-9E3A-ACBA-C46D-EFC581C5D5B1}"/>
              </a:ext>
            </a:extLst>
          </p:cNvPr>
          <p:cNvSpPr txBox="1"/>
          <p:nvPr/>
        </p:nvSpPr>
        <p:spPr>
          <a:xfrm>
            <a:off x="683110" y="4536750"/>
            <a:ext cx="2281464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400" spc="2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Responsibilities</a:t>
            </a:r>
            <a:endParaRPr sz="2400" dirty="0">
              <a:solidFill>
                <a:schemeClr val="bg2">
                  <a:lumMod val="50000"/>
                </a:schemeClr>
              </a:solidFill>
              <a:latin typeface="Georgia" panose="02040502050405020303" pitchFamily="18" charset="0"/>
              <a:cs typeface="Calibri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8C278C4-0943-635A-C50C-70405CF9C172}"/>
              </a:ext>
            </a:extLst>
          </p:cNvPr>
          <p:cNvSpPr txBox="1"/>
          <p:nvPr/>
        </p:nvSpPr>
        <p:spPr>
          <a:xfrm>
            <a:off x="3309368" y="5293376"/>
            <a:ext cx="2513916" cy="13269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 culture change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ire employee AI skill ownership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ordinate risk mitigation approach</a:t>
            </a:r>
          </a:p>
          <a:p>
            <a:pPr marL="285750" indent="-285750">
              <a:lnSpc>
                <a:spcPts val="14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cute top-down &amp; bottom-up communications</a:t>
            </a:r>
          </a:p>
          <a:p>
            <a:pPr marL="285750" indent="-285750">
              <a:lnSpc>
                <a:spcPts val="1600"/>
              </a:lnSpc>
              <a:buFont typeface="Wingdings" panose="05000000000000000000" pitchFamily="2" charset="2"/>
              <a:buChar char="ü"/>
            </a:pPr>
            <a:r>
              <a:rPr lang="en-US" sz="1000" dirty="0">
                <a:solidFill>
                  <a:srgbClr val="5A5B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ure budget approval</a:t>
            </a:r>
          </a:p>
        </p:txBody>
      </p:sp>
      <p:sp>
        <p:nvSpPr>
          <p:cNvPr id="39" name="object 11">
            <a:extLst>
              <a:ext uri="{FF2B5EF4-FFF2-40B4-BE49-F238E27FC236}">
                <a16:creationId xmlns:a16="http://schemas.microsoft.com/office/drawing/2014/main" id="{5883F075-9A73-BE0C-5BB9-AF86794449A8}"/>
              </a:ext>
            </a:extLst>
          </p:cNvPr>
          <p:cNvSpPr/>
          <p:nvPr/>
        </p:nvSpPr>
        <p:spPr>
          <a:xfrm>
            <a:off x="664454" y="5017936"/>
            <a:ext cx="2435860" cy="266700"/>
          </a:xfrm>
          <a:custGeom>
            <a:avLst/>
            <a:gdLst/>
            <a:ahLst/>
            <a:cxnLst/>
            <a:rect l="l" t="t" r="r" b="b"/>
            <a:pathLst>
              <a:path w="2435860" h="266700">
                <a:moveTo>
                  <a:pt x="2390902" y="0"/>
                </a:moveTo>
                <a:lnTo>
                  <a:pt x="44450" y="0"/>
                </a:lnTo>
                <a:lnTo>
                  <a:pt x="27148" y="3493"/>
                </a:lnTo>
                <a:lnTo>
                  <a:pt x="13019" y="13019"/>
                </a:lnTo>
                <a:lnTo>
                  <a:pt x="3493" y="27148"/>
                </a:lnTo>
                <a:lnTo>
                  <a:pt x="0" y="44450"/>
                </a:lnTo>
                <a:lnTo>
                  <a:pt x="0" y="222250"/>
                </a:lnTo>
                <a:lnTo>
                  <a:pt x="3493" y="239551"/>
                </a:lnTo>
                <a:lnTo>
                  <a:pt x="13019" y="253680"/>
                </a:lnTo>
                <a:lnTo>
                  <a:pt x="27148" y="263206"/>
                </a:lnTo>
                <a:lnTo>
                  <a:pt x="44450" y="266700"/>
                </a:lnTo>
                <a:lnTo>
                  <a:pt x="2390902" y="266700"/>
                </a:lnTo>
                <a:lnTo>
                  <a:pt x="2408203" y="263206"/>
                </a:lnTo>
                <a:lnTo>
                  <a:pt x="2422332" y="253680"/>
                </a:lnTo>
                <a:lnTo>
                  <a:pt x="2431858" y="239551"/>
                </a:lnTo>
                <a:lnTo>
                  <a:pt x="2435352" y="222250"/>
                </a:lnTo>
                <a:lnTo>
                  <a:pt x="2435352" y="44450"/>
                </a:lnTo>
                <a:lnTo>
                  <a:pt x="2431858" y="27148"/>
                </a:lnTo>
                <a:lnTo>
                  <a:pt x="2422332" y="13019"/>
                </a:lnTo>
                <a:lnTo>
                  <a:pt x="2408203" y="3493"/>
                </a:lnTo>
                <a:lnTo>
                  <a:pt x="2390902" y="0"/>
                </a:lnTo>
                <a:close/>
              </a:path>
            </a:pathLst>
          </a:custGeom>
          <a:solidFill>
            <a:srgbClr val="8B0000"/>
          </a:solidFill>
        </p:spPr>
        <p:txBody>
          <a:bodyPr wrap="square" lIns="0" tIns="0" rIns="0" bIns="0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 Team</a:t>
            </a:r>
            <a:endParaRPr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object 13">
            <a:extLst>
              <a:ext uri="{FF2B5EF4-FFF2-40B4-BE49-F238E27FC236}">
                <a16:creationId xmlns:a16="http://schemas.microsoft.com/office/drawing/2014/main" id="{3C300CC4-F42B-6387-A9B8-A5B996D04BA0}"/>
              </a:ext>
            </a:extLst>
          </p:cNvPr>
          <p:cNvSpPr/>
          <p:nvPr/>
        </p:nvSpPr>
        <p:spPr>
          <a:xfrm>
            <a:off x="3320451" y="5021570"/>
            <a:ext cx="2432685" cy="266700"/>
          </a:xfrm>
          <a:custGeom>
            <a:avLst/>
            <a:gdLst/>
            <a:ahLst/>
            <a:cxnLst/>
            <a:rect l="l" t="t" r="r" b="b"/>
            <a:pathLst>
              <a:path w="2432685" h="266700">
                <a:moveTo>
                  <a:pt x="2387854" y="0"/>
                </a:moveTo>
                <a:lnTo>
                  <a:pt x="44450" y="0"/>
                </a:lnTo>
                <a:lnTo>
                  <a:pt x="27148" y="3493"/>
                </a:lnTo>
                <a:lnTo>
                  <a:pt x="13019" y="13019"/>
                </a:lnTo>
                <a:lnTo>
                  <a:pt x="3493" y="27148"/>
                </a:lnTo>
                <a:lnTo>
                  <a:pt x="0" y="44450"/>
                </a:lnTo>
                <a:lnTo>
                  <a:pt x="0" y="222250"/>
                </a:lnTo>
                <a:lnTo>
                  <a:pt x="3493" y="239551"/>
                </a:lnTo>
                <a:lnTo>
                  <a:pt x="13019" y="253680"/>
                </a:lnTo>
                <a:lnTo>
                  <a:pt x="27148" y="263206"/>
                </a:lnTo>
                <a:lnTo>
                  <a:pt x="44450" y="266700"/>
                </a:lnTo>
                <a:lnTo>
                  <a:pt x="2387854" y="266700"/>
                </a:lnTo>
                <a:lnTo>
                  <a:pt x="2405155" y="263206"/>
                </a:lnTo>
                <a:lnTo>
                  <a:pt x="2419284" y="253680"/>
                </a:lnTo>
                <a:lnTo>
                  <a:pt x="2428810" y="239551"/>
                </a:lnTo>
                <a:lnTo>
                  <a:pt x="2432304" y="222250"/>
                </a:lnTo>
                <a:lnTo>
                  <a:pt x="2432304" y="44450"/>
                </a:lnTo>
                <a:lnTo>
                  <a:pt x="2428810" y="27148"/>
                </a:lnTo>
                <a:lnTo>
                  <a:pt x="2419284" y="13019"/>
                </a:lnTo>
                <a:lnTo>
                  <a:pt x="2405155" y="3493"/>
                </a:lnTo>
                <a:lnTo>
                  <a:pt x="2387854" y="0"/>
                </a:lnTo>
                <a:close/>
              </a:path>
            </a:pathLst>
          </a:custGeom>
          <a:solidFill>
            <a:srgbClr val="8B0000"/>
          </a:solidFill>
        </p:spPr>
        <p:txBody>
          <a:bodyPr wrap="square" lIns="0" tIns="0" rIns="0" bIns="0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r Team</a:t>
            </a:r>
            <a:endParaRPr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object 24">
            <a:extLst>
              <a:ext uri="{FF2B5EF4-FFF2-40B4-BE49-F238E27FC236}">
                <a16:creationId xmlns:a16="http://schemas.microsoft.com/office/drawing/2014/main" id="{5B9050D9-FA71-FFCB-0232-B70C0EC00A40}"/>
              </a:ext>
            </a:extLst>
          </p:cNvPr>
          <p:cNvSpPr/>
          <p:nvPr/>
        </p:nvSpPr>
        <p:spPr>
          <a:xfrm>
            <a:off x="9584435" y="595883"/>
            <a:ext cx="995680" cy="323215"/>
          </a:xfrm>
          <a:custGeom>
            <a:avLst/>
            <a:gdLst/>
            <a:ahLst/>
            <a:cxnLst/>
            <a:rect l="l" t="t" r="r" b="b"/>
            <a:pathLst>
              <a:path w="995679" h="323215">
                <a:moveTo>
                  <a:pt x="0" y="53848"/>
                </a:moveTo>
                <a:lnTo>
                  <a:pt x="4231" y="32886"/>
                </a:lnTo>
                <a:lnTo>
                  <a:pt x="15770" y="15770"/>
                </a:lnTo>
                <a:lnTo>
                  <a:pt x="32886" y="4231"/>
                </a:lnTo>
                <a:lnTo>
                  <a:pt x="53848" y="0"/>
                </a:lnTo>
                <a:lnTo>
                  <a:pt x="941324" y="0"/>
                </a:lnTo>
                <a:lnTo>
                  <a:pt x="962285" y="4231"/>
                </a:lnTo>
                <a:lnTo>
                  <a:pt x="979401" y="15770"/>
                </a:lnTo>
                <a:lnTo>
                  <a:pt x="990940" y="32886"/>
                </a:lnTo>
                <a:lnTo>
                  <a:pt x="995172" y="53848"/>
                </a:lnTo>
                <a:lnTo>
                  <a:pt x="995172" y="269240"/>
                </a:lnTo>
                <a:lnTo>
                  <a:pt x="990940" y="290201"/>
                </a:lnTo>
                <a:lnTo>
                  <a:pt x="979401" y="307317"/>
                </a:lnTo>
                <a:lnTo>
                  <a:pt x="962285" y="318856"/>
                </a:lnTo>
                <a:lnTo>
                  <a:pt x="941324" y="323088"/>
                </a:lnTo>
                <a:lnTo>
                  <a:pt x="53848" y="323088"/>
                </a:lnTo>
                <a:lnTo>
                  <a:pt x="32886" y="318856"/>
                </a:lnTo>
                <a:lnTo>
                  <a:pt x="15770" y="307317"/>
                </a:lnTo>
                <a:lnTo>
                  <a:pt x="4231" y="290201"/>
                </a:lnTo>
                <a:lnTo>
                  <a:pt x="0" y="269240"/>
                </a:lnTo>
                <a:lnTo>
                  <a:pt x="0" y="53848"/>
                </a:lnTo>
                <a:close/>
              </a:path>
            </a:pathLst>
          </a:custGeom>
          <a:solidFill>
            <a:srgbClr val="8B0000"/>
          </a:solidFill>
          <a:ln w="9144">
            <a:solidFill>
              <a:srgbClr val="FFFFFF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en-US" sz="105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ecution</a:t>
            </a:r>
            <a:endParaRPr sz="105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09677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3">
            <a:extLst>
              <a:ext uri="{FF2B5EF4-FFF2-40B4-BE49-F238E27FC236}">
                <a16:creationId xmlns:a16="http://schemas.microsoft.com/office/drawing/2014/main" id="{B78FD69E-A913-AB72-7388-F9C0CDB98791}"/>
              </a:ext>
            </a:extLst>
          </p:cNvPr>
          <p:cNvSpPr txBox="1"/>
          <p:nvPr/>
        </p:nvSpPr>
        <p:spPr>
          <a:xfrm>
            <a:off x="1358899" y="2823714"/>
            <a:ext cx="7094988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4800" spc="-10" dirty="0">
                <a:solidFill>
                  <a:srgbClr val="8B0000"/>
                </a:solidFill>
                <a:latin typeface="Georgia" panose="02040502050405020303" pitchFamily="18" charset="0"/>
                <a:cs typeface="Calibri"/>
              </a:rPr>
              <a:t>Introduction</a:t>
            </a:r>
            <a:endParaRPr sz="4800" dirty="0">
              <a:solidFill>
                <a:srgbClr val="8B0000"/>
              </a:solidFill>
              <a:latin typeface="Georgia" panose="02040502050405020303" pitchFamily="18" charset="0"/>
              <a:cs typeface="Calibri"/>
            </a:endParaRP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4E9F585E-56D4-3165-2C7F-474DECC838ED}"/>
              </a:ext>
            </a:extLst>
          </p:cNvPr>
          <p:cNvSpPr txBox="1"/>
          <p:nvPr/>
        </p:nvSpPr>
        <p:spPr>
          <a:xfrm>
            <a:off x="1358899" y="4018801"/>
            <a:ext cx="1645557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175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S</a:t>
            </a:r>
            <a:r>
              <a:rPr sz="2400" spc="85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EC</a:t>
            </a:r>
            <a:r>
              <a:rPr sz="2400" spc="11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T</a:t>
            </a:r>
            <a:r>
              <a:rPr sz="2400" spc="25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I</a:t>
            </a:r>
            <a:r>
              <a:rPr sz="240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ON</a:t>
            </a:r>
            <a:r>
              <a:rPr sz="2400" spc="-8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 </a:t>
            </a:r>
            <a:r>
              <a:rPr lang="en-US" sz="2400" spc="-25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1</a:t>
            </a:r>
            <a:endParaRPr sz="2400" dirty="0">
              <a:solidFill>
                <a:schemeClr val="bg2">
                  <a:lumMod val="50000"/>
                </a:schemeClr>
              </a:solidFill>
              <a:latin typeface="Georgia" panose="02040502050405020303" pitchFamily="18" charset="0"/>
              <a:cs typeface="Calibri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E50727D-C2A0-6CD5-1DC9-BFB0D0E4B63C}"/>
              </a:ext>
            </a:extLst>
          </p:cNvPr>
          <p:cNvSpPr/>
          <p:nvPr/>
        </p:nvSpPr>
        <p:spPr>
          <a:xfrm>
            <a:off x="1" y="5939246"/>
            <a:ext cx="12191999" cy="217714"/>
          </a:xfrm>
          <a:prstGeom prst="rect">
            <a:avLst/>
          </a:prstGeom>
          <a:solidFill>
            <a:srgbClr val="8B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B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7891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Rectangle 140">
            <a:extLst>
              <a:ext uri="{FF2B5EF4-FFF2-40B4-BE49-F238E27FC236}">
                <a16:creationId xmlns:a16="http://schemas.microsoft.com/office/drawing/2014/main" id="{5E970F21-96ED-178C-8D94-CF5D58465885}"/>
              </a:ext>
            </a:extLst>
          </p:cNvPr>
          <p:cNvSpPr/>
          <p:nvPr/>
        </p:nvSpPr>
        <p:spPr>
          <a:xfrm>
            <a:off x="0" y="5060295"/>
            <a:ext cx="12192000" cy="1797705"/>
          </a:xfrm>
          <a:prstGeom prst="rect">
            <a:avLst/>
          </a:prstGeom>
          <a:solidFill>
            <a:srgbClr val="8B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object 2">
            <a:extLst>
              <a:ext uri="{FF2B5EF4-FFF2-40B4-BE49-F238E27FC236}">
                <a16:creationId xmlns:a16="http://schemas.microsoft.com/office/drawing/2014/main" id="{9126A6BB-9028-A5C4-DC22-6048C36EB938}"/>
              </a:ext>
            </a:extLst>
          </p:cNvPr>
          <p:cNvPicPr/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334255" y="1900869"/>
            <a:ext cx="371855" cy="371855"/>
          </a:xfrm>
          <a:prstGeom prst="rect">
            <a:avLst/>
          </a:prstGeom>
        </p:spPr>
      </p:pic>
      <p:grpSp>
        <p:nvGrpSpPr>
          <p:cNvPr id="7" name="object 5">
            <a:extLst>
              <a:ext uri="{FF2B5EF4-FFF2-40B4-BE49-F238E27FC236}">
                <a16:creationId xmlns:a16="http://schemas.microsoft.com/office/drawing/2014/main" id="{1645CADF-3197-0983-1B4E-6C22FFF28CA0}"/>
              </a:ext>
            </a:extLst>
          </p:cNvPr>
          <p:cNvGrpSpPr/>
          <p:nvPr/>
        </p:nvGrpSpPr>
        <p:grpSpPr>
          <a:xfrm>
            <a:off x="714629" y="3757407"/>
            <a:ext cx="2015489" cy="615950"/>
            <a:chOff x="714629" y="3470021"/>
            <a:chExt cx="2015489" cy="615950"/>
          </a:xfrm>
          <a:solidFill>
            <a:schemeClr val="bg2"/>
          </a:solidFill>
        </p:grpSpPr>
        <p:sp>
          <p:nvSpPr>
            <p:cNvPr id="8" name="object 6">
              <a:extLst>
                <a:ext uri="{FF2B5EF4-FFF2-40B4-BE49-F238E27FC236}">
                  <a16:creationId xmlns:a16="http://schemas.microsoft.com/office/drawing/2014/main" id="{D8AFB4AB-7260-0F25-74FE-5A8E3A8B5F1E}"/>
                </a:ext>
              </a:extLst>
            </p:cNvPr>
            <p:cNvSpPr/>
            <p:nvPr/>
          </p:nvSpPr>
          <p:spPr>
            <a:xfrm>
              <a:off x="717804" y="3473196"/>
              <a:ext cx="2009139" cy="609600"/>
            </a:xfrm>
            <a:custGeom>
              <a:avLst/>
              <a:gdLst/>
              <a:ahLst/>
              <a:cxnLst/>
              <a:rect l="l" t="t" r="r" b="b"/>
              <a:pathLst>
                <a:path w="2009139" h="609600">
                  <a:moveTo>
                    <a:pt x="1703793" y="0"/>
                  </a:moveTo>
                  <a:lnTo>
                    <a:pt x="0" y="0"/>
                  </a:lnTo>
                  <a:lnTo>
                    <a:pt x="304838" y="304800"/>
                  </a:lnTo>
                  <a:lnTo>
                    <a:pt x="0" y="609600"/>
                  </a:lnTo>
                  <a:lnTo>
                    <a:pt x="1703793" y="609600"/>
                  </a:lnTo>
                  <a:lnTo>
                    <a:pt x="2008632" y="304800"/>
                  </a:lnTo>
                  <a:lnTo>
                    <a:pt x="1703793" y="0"/>
                  </a:lnTo>
                  <a:close/>
                </a:path>
              </a:pathLst>
            </a:custGeom>
            <a:grpFill/>
            <a:ln>
              <a:solidFill>
                <a:schemeClr val="bg2">
                  <a:lumMod val="50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object 7">
              <a:extLst>
                <a:ext uri="{FF2B5EF4-FFF2-40B4-BE49-F238E27FC236}">
                  <a16:creationId xmlns:a16="http://schemas.microsoft.com/office/drawing/2014/main" id="{16016C07-B700-AC26-784E-6699C1574040}"/>
                </a:ext>
              </a:extLst>
            </p:cNvPr>
            <p:cNvSpPr/>
            <p:nvPr/>
          </p:nvSpPr>
          <p:spPr>
            <a:xfrm>
              <a:off x="717804" y="3473196"/>
              <a:ext cx="2009139" cy="609600"/>
            </a:xfrm>
            <a:custGeom>
              <a:avLst/>
              <a:gdLst/>
              <a:ahLst/>
              <a:cxnLst/>
              <a:rect l="l" t="t" r="r" b="b"/>
              <a:pathLst>
                <a:path w="2009139" h="609600">
                  <a:moveTo>
                    <a:pt x="0" y="0"/>
                  </a:moveTo>
                  <a:lnTo>
                    <a:pt x="1703793" y="0"/>
                  </a:lnTo>
                  <a:lnTo>
                    <a:pt x="2008632" y="304800"/>
                  </a:lnTo>
                  <a:lnTo>
                    <a:pt x="1703793" y="609600"/>
                  </a:lnTo>
                  <a:lnTo>
                    <a:pt x="0" y="609600"/>
                  </a:lnTo>
                  <a:lnTo>
                    <a:pt x="304838" y="3048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096">
              <a:solidFill>
                <a:schemeClr val="bg2">
                  <a:lumMod val="50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" name="object 8">
            <a:extLst>
              <a:ext uri="{FF2B5EF4-FFF2-40B4-BE49-F238E27FC236}">
                <a16:creationId xmlns:a16="http://schemas.microsoft.com/office/drawing/2014/main" id="{E125256B-F880-1F7D-8EF3-8C70FF297A44}"/>
              </a:ext>
            </a:extLst>
          </p:cNvPr>
          <p:cNvSpPr txBox="1"/>
          <p:nvPr/>
        </p:nvSpPr>
        <p:spPr>
          <a:xfrm>
            <a:off x="1173476" y="3892834"/>
            <a:ext cx="1306070" cy="31162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wrap="square" lIns="0" tIns="29209" rIns="0" bIns="0" rtlCol="0">
            <a:spAutoFit/>
          </a:bodyPr>
          <a:lstStyle/>
          <a:p>
            <a:pPr marL="139065" marR="5080" indent="-127000">
              <a:lnSpc>
                <a:spcPts val="1080"/>
              </a:lnSpc>
              <a:spcBef>
                <a:spcPts val="229"/>
              </a:spcBef>
            </a:pPr>
            <a:r>
              <a:rPr lang="en-US" sz="900" spc="65" dirty="0">
                <a:latin typeface="Arial" panose="020B0604020202020204" pitchFamily="34" charset="0"/>
                <a:cs typeface="Arial" panose="020B0604020202020204" pitchFamily="34" charset="0"/>
              </a:rPr>
              <a:t>Foundational AI-to-KPI Alignment</a:t>
            </a:r>
            <a:endParaRPr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object 9">
            <a:extLst>
              <a:ext uri="{FF2B5EF4-FFF2-40B4-BE49-F238E27FC236}">
                <a16:creationId xmlns:a16="http://schemas.microsoft.com/office/drawing/2014/main" id="{DB705009-5E1F-42D3-6849-756D09C4ED33}"/>
              </a:ext>
            </a:extLst>
          </p:cNvPr>
          <p:cNvGrpSpPr/>
          <p:nvPr/>
        </p:nvGrpSpPr>
        <p:grpSpPr>
          <a:xfrm>
            <a:off x="2827354" y="3757407"/>
            <a:ext cx="2015489" cy="615950"/>
            <a:chOff x="2522092" y="3470021"/>
            <a:chExt cx="2015489" cy="615950"/>
          </a:xfrm>
          <a:solidFill>
            <a:schemeClr val="bg2"/>
          </a:solidFill>
        </p:grpSpPr>
        <p:sp>
          <p:nvSpPr>
            <p:cNvPr id="12" name="object 10">
              <a:extLst>
                <a:ext uri="{FF2B5EF4-FFF2-40B4-BE49-F238E27FC236}">
                  <a16:creationId xmlns:a16="http://schemas.microsoft.com/office/drawing/2014/main" id="{4C43A7D5-E5C3-CB5D-B72D-574FF013949A}"/>
                </a:ext>
              </a:extLst>
            </p:cNvPr>
            <p:cNvSpPr/>
            <p:nvPr/>
          </p:nvSpPr>
          <p:spPr>
            <a:xfrm>
              <a:off x="2525267" y="3473196"/>
              <a:ext cx="2009139" cy="609600"/>
            </a:xfrm>
            <a:custGeom>
              <a:avLst/>
              <a:gdLst/>
              <a:ahLst/>
              <a:cxnLst/>
              <a:rect l="l" t="t" r="r" b="b"/>
              <a:pathLst>
                <a:path w="2009139" h="609600">
                  <a:moveTo>
                    <a:pt x="1703793" y="0"/>
                  </a:moveTo>
                  <a:lnTo>
                    <a:pt x="0" y="0"/>
                  </a:lnTo>
                  <a:lnTo>
                    <a:pt x="304838" y="304800"/>
                  </a:lnTo>
                  <a:lnTo>
                    <a:pt x="0" y="609600"/>
                  </a:lnTo>
                  <a:lnTo>
                    <a:pt x="1703793" y="609600"/>
                  </a:lnTo>
                  <a:lnTo>
                    <a:pt x="2008632" y="304800"/>
                  </a:lnTo>
                  <a:lnTo>
                    <a:pt x="1703793" y="0"/>
                  </a:lnTo>
                  <a:close/>
                </a:path>
              </a:pathLst>
            </a:custGeom>
            <a:grpFill/>
            <a:ln>
              <a:solidFill>
                <a:schemeClr val="bg2">
                  <a:lumMod val="50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object 11">
              <a:extLst>
                <a:ext uri="{FF2B5EF4-FFF2-40B4-BE49-F238E27FC236}">
                  <a16:creationId xmlns:a16="http://schemas.microsoft.com/office/drawing/2014/main" id="{A02ABAEE-87F3-7E27-5896-8723A8382C52}"/>
                </a:ext>
              </a:extLst>
            </p:cNvPr>
            <p:cNvSpPr/>
            <p:nvPr/>
          </p:nvSpPr>
          <p:spPr>
            <a:xfrm>
              <a:off x="2525267" y="3473196"/>
              <a:ext cx="2009139" cy="609600"/>
            </a:xfrm>
            <a:custGeom>
              <a:avLst/>
              <a:gdLst/>
              <a:ahLst/>
              <a:cxnLst/>
              <a:rect l="l" t="t" r="r" b="b"/>
              <a:pathLst>
                <a:path w="2009139" h="609600">
                  <a:moveTo>
                    <a:pt x="0" y="0"/>
                  </a:moveTo>
                  <a:lnTo>
                    <a:pt x="1703793" y="0"/>
                  </a:lnTo>
                  <a:lnTo>
                    <a:pt x="2008632" y="304800"/>
                  </a:lnTo>
                  <a:lnTo>
                    <a:pt x="1703793" y="609600"/>
                  </a:lnTo>
                  <a:lnTo>
                    <a:pt x="0" y="609600"/>
                  </a:lnTo>
                  <a:lnTo>
                    <a:pt x="304838" y="3048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096">
              <a:solidFill>
                <a:schemeClr val="bg2">
                  <a:lumMod val="50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4" name="object 12">
            <a:extLst>
              <a:ext uri="{FF2B5EF4-FFF2-40B4-BE49-F238E27FC236}">
                <a16:creationId xmlns:a16="http://schemas.microsoft.com/office/drawing/2014/main" id="{64F526BB-78BB-5388-03C2-9F9E50CC6BC4}"/>
              </a:ext>
            </a:extLst>
          </p:cNvPr>
          <p:cNvSpPr txBox="1"/>
          <p:nvPr/>
        </p:nvSpPr>
        <p:spPr>
          <a:xfrm>
            <a:off x="3418114" y="3892834"/>
            <a:ext cx="859155" cy="30258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wrap="square" lIns="0" tIns="29209" rIns="0" bIns="0" rtlCol="0">
            <a:spAutoFit/>
          </a:bodyPr>
          <a:lstStyle/>
          <a:p>
            <a:pPr marL="187960" marR="5080" indent="-175895">
              <a:lnSpc>
                <a:spcPts val="1080"/>
              </a:lnSpc>
              <a:spcBef>
                <a:spcPts val="229"/>
              </a:spcBef>
            </a:pPr>
            <a:r>
              <a:rPr lang="en-US" sz="900" spc="25" dirty="0">
                <a:latin typeface="Arial" panose="020B0604020202020204" pitchFamily="34" charset="0"/>
                <a:cs typeface="Arial" panose="020B0604020202020204" pitchFamily="34" charset="0"/>
              </a:rPr>
              <a:t>Readiness and Preparation</a:t>
            </a:r>
            <a:endParaRPr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9" name="object 17">
            <a:extLst>
              <a:ext uri="{FF2B5EF4-FFF2-40B4-BE49-F238E27FC236}">
                <a16:creationId xmlns:a16="http://schemas.microsoft.com/office/drawing/2014/main" id="{4358907C-F7A1-2EFF-190C-236BD71084D1}"/>
              </a:ext>
            </a:extLst>
          </p:cNvPr>
          <p:cNvGrpSpPr/>
          <p:nvPr/>
        </p:nvGrpSpPr>
        <p:grpSpPr>
          <a:xfrm>
            <a:off x="7054075" y="3757407"/>
            <a:ext cx="2015489" cy="615950"/>
            <a:chOff x="6138545" y="3470021"/>
            <a:chExt cx="2015489" cy="615950"/>
          </a:xfrm>
          <a:solidFill>
            <a:schemeClr val="bg2"/>
          </a:solidFill>
        </p:grpSpPr>
        <p:sp>
          <p:nvSpPr>
            <p:cNvPr id="20" name="object 18">
              <a:extLst>
                <a:ext uri="{FF2B5EF4-FFF2-40B4-BE49-F238E27FC236}">
                  <a16:creationId xmlns:a16="http://schemas.microsoft.com/office/drawing/2014/main" id="{C9EE57C9-D684-D241-7F36-78C8A4FAE85C}"/>
                </a:ext>
              </a:extLst>
            </p:cNvPr>
            <p:cNvSpPr/>
            <p:nvPr/>
          </p:nvSpPr>
          <p:spPr>
            <a:xfrm>
              <a:off x="6141720" y="3473196"/>
              <a:ext cx="2009139" cy="609600"/>
            </a:xfrm>
            <a:custGeom>
              <a:avLst/>
              <a:gdLst/>
              <a:ahLst/>
              <a:cxnLst/>
              <a:rect l="l" t="t" r="r" b="b"/>
              <a:pathLst>
                <a:path w="2009140" h="609600">
                  <a:moveTo>
                    <a:pt x="1703793" y="0"/>
                  </a:moveTo>
                  <a:lnTo>
                    <a:pt x="0" y="0"/>
                  </a:lnTo>
                  <a:lnTo>
                    <a:pt x="304838" y="304800"/>
                  </a:lnTo>
                  <a:lnTo>
                    <a:pt x="0" y="609600"/>
                  </a:lnTo>
                  <a:lnTo>
                    <a:pt x="1703793" y="609600"/>
                  </a:lnTo>
                  <a:lnTo>
                    <a:pt x="2008632" y="304800"/>
                  </a:lnTo>
                  <a:lnTo>
                    <a:pt x="1703793" y="0"/>
                  </a:lnTo>
                  <a:close/>
                </a:path>
              </a:pathLst>
            </a:custGeom>
            <a:grpFill/>
            <a:ln>
              <a:solidFill>
                <a:schemeClr val="bg2">
                  <a:lumMod val="50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object 19">
              <a:extLst>
                <a:ext uri="{FF2B5EF4-FFF2-40B4-BE49-F238E27FC236}">
                  <a16:creationId xmlns:a16="http://schemas.microsoft.com/office/drawing/2014/main" id="{D6AAEE58-DB19-0B51-9C53-D116BDAFC0DA}"/>
                </a:ext>
              </a:extLst>
            </p:cNvPr>
            <p:cNvSpPr/>
            <p:nvPr/>
          </p:nvSpPr>
          <p:spPr>
            <a:xfrm>
              <a:off x="6141720" y="3473196"/>
              <a:ext cx="2009139" cy="609600"/>
            </a:xfrm>
            <a:custGeom>
              <a:avLst/>
              <a:gdLst/>
              <a:ahLst/>
              <a:cxnLst/>
              <a:rect l="l" t="t" r="r" b="b"/>
              <a:pathLst>
                <a:path w="2009140" h="609600">
                  <a:moveTo>
                    <a:pt x="0" y="0"/>
                  </a:moveTo>
                  <a:lnTo>
                    <a:pt x="1703793" y="0"/>
                  </a:lnTo>
                  <a:lnTo>
                    <a:pt x="2008632" y="304800"/>
                  </a:lnTo>
                  <a:lnTo>
                    <a:pt x="1703793" y="609600"/>
                  </a:lnTo>
                  <a:lnTo>
                    <a:pt x="0" y="609600"/>
                  </a:lnTo>
                  <a:lnTo>
                    <a:pt x="304838" y="3048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096">
              <a:solidFill>
                <a:schemeClr val="bg2">
                  <a:lumMod val="50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2" name="object 20">
            <a:extLst>
              <a:ext uri="{FF2B5EF4-FFF2-40B4-BE49-F238E27FC236}">
                <a16:creationId xmlns:a16="http://schemas.microsoft.com/office/drawing/2014/main" id="{045192E0-D3C5-90D4-DC6C-F21BCB387245}"/>
              </a:ext>
            </a:extLst>
          </p:cNvPr>
          <p:cNvSpPr txBox="1"/>
          <p:nvPr/>
        </p:nvSpPr>
        <p:spPr>
          <a:xfrm>
            <a:off x="7539879" y="3892834"/>
            <a:ext cx="1088614" cy="30258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wrap="square" lIns="0" tIns="29209" rIns="0" bIns="0" rtlCol="0">
            <a:spAutoFit/>
          </a:bodyPr>
          <a:lstStyle/>
          <a:p>
            <a:pPr marL="170815" marR="5080" indent="-158750">
              <a:lnSpc>
                <a:spcPts val="1080"/>
              </a:lnSpc>
              <a:spcBef>
                <a:spcPts val="229"/>
              </a:spcBef>
            </a:pPr>
            <a:r>
              <a:rPr lang="en-US" sz="900" spc="55" dirty="0">
                <a:latin typeface="Arial" panose="020B0604020202020204" pitchFamily="34" charset="0"/>
                <a:cs typeface="Arial" panose="020B0604020202020204" pitchFamily="34" charset="0"/>
              </a:rPr>
              <a:t>AI Business Transformation</a:t>
            </a:r>
            <a:endParaRPr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object 29">
            <a:extLst>
              <a:ext uri="{FF2B5EF4-FFF2-40B4-BE49-F238E27FC236}">
                <a16:creationId xmlns:a16="http://schemas.microsoft.com/office/drawing/2014/main" id="{4046B8BF-4CA1-954F-F091-C7868569DDC1}"/>
              </a:ext>
            </a:extLst>
          </p:cNvPr>
          <p:cNvSpPr txBox="1"/>
          <p:nvPr/>
        </p:nvSpPr>
        <p:spPr>
          <a:xfrm>
            <a:off x="1333346" y="1850914"/>
            <a:ext cx="2003425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aily breakthroughs redefine AI’s potential</a:t>
            </a:r>
            <a:endParaRPr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object 30">
            <a:extLst>
              <a:ext uri="{FF2B5EF4-FFF2-40B4-BE49-F238E27FC236}">
                <a16:creationId xmlns:a16="http://schemas.microsoft.com/office/drawing/2014/main" id="{A18A82FB-D8F1-307B-0B65-F5E18323E41E}"/>
              </a:ext>
            </a:extLst>
          </p:cNvPr>
          <p:cNvSpPr txBox="1"/>
          <p:nvPr/>
        </p:nvSpPr>
        <p:spPr>
          <a:xfrm>
            <a:off x="1333346" y="2574954"/>
            <a:ext cx="2400935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ontinuous funding flows into AI from global giants</a:t>
            </a:r>
            <a:endParaRPr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object 31">
            <a:extLst>
              <a:ext uri="{FF2B5EF4-FFF2-40B4-BE49-F238E27FC236}">
                <a16:creationId xmlns:a16="http://schemas.microsoft.com/office/drawing/2014/main" id="{803D8789-6B7D-0E99-101E-6CF3383222F6}"/>
              </a:ext>
            </a:extLst>
          </p:cNvPr>
          <p:cNvSpPr txBox="1"/>
          <p:nvPr/>
        </p:nvSpPr>
        <p:spPr>
          <a:xfrm>
            <a:off x="4917032" y="1811595"/>
            <a:ext cx="296164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AI adoption leads to double-digit productivity gains</a:t>
            </a:r>
            <a:endParaRPr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object 34">
            <a:extLst>
              <a:ext uri="{FF2B5EF4-FFF2-40B4-BE49-F238E27FC236}">
                <a16:creationId xmlns:a16="http://schemas.microsoft.com/office/drawing/2014/main" id="{1B4A82E9-B3DD-EE56-6D31-AE22E64686C9}"/>
              </a:ext>
            </a:extLst>
          </p:cNvPr>
          <p:cNvSpPr txBox="1"/>
          <p:nvPr/>
        </p:nvSpPr>
        <p:spPr>
          <a:xfrm>
            <a:off x="673100" y="586041"/>
            <a:ext cx="4211320" cy="50526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200" spc="1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Bottom</a:t>
            </a:r>
            <a:r>
              <a:rPr sz="3200" spc="-14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 </a:t>
            </a:r>
            <a:r>
              <a:rPr sz="3200" spc="-5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line</a:t>
            </a:r>
            <a:r>
              <a:rPr sz="3200" spc="-114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 </a:t>
            </a:r>
            <a:r>
              <a:rPr sz="3200" spc="4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up</a:t>
            </a:r>
            <a:r>
              <a:rPr sz="3200" spc="-12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 </a:t>
            </a:r>
            <a:r>
              <a:rPr sz="3200" spc="-6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front</a:t>
            </a:r>
            <a:endParaRPr sz="3200" dirty="0">
              <a:solidFill>
                <a:schemeClr val="bg2">
                  <a:lumMod val="50000"/>
                </a:schemeClr>
              </a:solidFill>
              <a:latin typeface="Georgia" panose="02040502050405020303" pitchFamily="18" charset="0"/>
              <a:cs typeface="Calibri"/>
            </a:endParaRPr>
          </a:p>
        </p:txBody>
      </p:sp>
      <p:sp>
        <p:nvSpPr>
          <p:cNvPr id="40" name="object 38">
            <a:extLst>
              <a:ext uri="{FF2B5EF4-FFF2-40B4-BE49-F238E27FC236}">
                <a16:creationId xmlns:a16="http://schemas.microsoft.com/office/drawing/2014/main" id="{416E152D-0222-E0FD-A7FE-BF7DB9237951}"/>
              </a:ext>
            </a:extLst>
          </p:cNvPr>
          <p:cNvSpPr txBox="1"/>
          <p:nvPr/>
        </p:nvSpPr>
        <p:spPr>
          <a:xfrm>
            <a:off x="4917106" y="2576791"/>
            <a:ext cx="2555875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Early adopters outperform rivals in innovation and market share</a:t>
            </a:r>
            <a:endParaRPr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object 39">
            <a:extLst>
              <a:ext uri="{FF2B5EF4-FFF2-40B4-BE49-F238E27FC236}">
                <a16:creationId xmlns:a16="http://schemas.microsoft.com/office/drawing/2014/main" id="{9D3BEF20-8D7B-9A92-0917-067C8262DF6D}"/>
              </a:ext>
            </a:extLst>
          </p:cNvPr>
          <p:cNvSpPr txBox="1"/>
          <p:nvPr/>
        </p:nvSpPr>
        <p:spPr>
          <a:xfrm>
            <a:off x="673099" y="3344913"/>
            <a:ext cx="10502902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pc="5" dirty="0">
                <a:solidFill>
                  <a:srgbClr val="8B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leras c</a:t>
            </a:r>
            <a:r>
              <a:rPr spc="5" dirty="0">
                <a:solidFill>
                  <a:srgbClr val="8B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tomize</a:t>
            </a:r>
            <a:r>
              <a:rPr lang="en-US" spc="5" dirty="0">
                <a:solidFill>
                  <a:srgbClr val="8B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spc="-60" dirty="0">
                <a:solidFill>
                  <a:srgbClr val="8B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pc="-60" dirty="0">
                <a:solidFill>
                  <a:srgbClr val="8B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ransformation </a:t>
            </a:r>
            <a:r>
              <a:rPr spc="5" dirty="0">
                <a:solidFill>
                  <a:srgbClr val="8B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</a:t>
            </a:r>
            <a:r>
              <a:rPr spc="-45" dirty="0">
                <a:solidFill>
                  <a:srgbClr val="8B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pc="5" dirty="0">
                <a:solidFill>
                  <a:srgbClr val="8B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igned</a:t>
            </a:r>
            <a:r>
              <a:rPr spc="-30" dirty="0">
                <a:solidFill>
                  <a:srgbClr val="8B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pc="-15" dirty="0">
                <a:solidFill>
                  <a:srgbClr val="8B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spc="-55" dirty="0">
                <a:solidFill>
                  <a:srgbClr val="8B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pc="-10" dirty="0">
                <a:solidFill>
                  <a:srgbClr val="8B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ize </a:t>
            </a:r>
            <a:r>
              <a:rPr lang="en-US" spc="15" dirty="0">
                <a:solidFill>
                  <a:srgbClr val="8B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p &amp; bottom-line improvement  </a:t>
            </a:r>
            <a:endParaRPr dirty="0">
              <a:solidFill>
                <a:srgbClr val="8B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object 40">
            <a:extLst>
              <a:ext uri="{FF2B5EF4-FFF2-40B4-BE49-F238E27FC236}">
                <a16:creationId xmlns:a16="http://schemas.microsoft.com/office/drawing/2014/main" id="{07231FA6-4CCE-4661-6DE8-49CAB99B3137}"/>
              </a:ext>
            </a:extLst>
          </p:cNvPr>
          <p:cNvSpPr/>
          <p:nvPr/>
        </p:nvSpPr>
        <p:spPr>
          <a:xfrm>
            <a:off x="685800" y="1330452"/>
            <a:ext cx="6551930" cy="398145"/>
          </a:xfrm>
          <a:custGeom>
            <a:avLst/>
            <a:gdLst/>
            <a:ahLst/>
            <a:cxnLst/>
            <a:rect l="l" t="t" r="r" b="b"/>
            <a:pathLst>
              <a:path w="6551930" h="398144">
                <a:moveTo>
                  <a:pt x="6551676" y="0"/>
                </a:moveTo>
                <a:lnTo>
                  <a:pt x="0" y="0"/>
                </a:lnTo>
                <a:lnTo>
                  <a:pt x="0" y="397763"/>
                </a:lnTo>
                <a:lnTo>
                  <a:pt x="6551676" y="397763"/>
                </a:lnTo>
                <a:lnTo>
                  <a:pt x="655167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1">
            <a:extLst>
              <a:ext uri="{FF2B5EF4-FFF2-40B4-BE49-F238E27FC236}">
                <a16:creationId xmlns:a16="http://schemas.microsoft.com/office/drawing/2014/main" id="{21D5168C-8F9D-902E-A2D9-89819561EF0A}"/>
              </a:ext>
            </a:extLst>
          </p:cNvPr>
          <p:cNvSpPr txBox="1"/>
          <p:nvPr/>
        </p:nvSpPr>
        <p:spPr>
          <a:xfrm>
            <a:off x="673101" y="1352175"/>
            <a:ext cx="10253218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dirty="0">
                <a:solidFill>
                  <a:srgbClr val="8B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tive AI represents a clear opportunity to gain or maintain competitive advantages </a:t>
            </a:r>
            <a:endParaRPr b="1" dirty="0">
              <a:solidFill>
                <a:srgbClr val="8B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4" name="object 43">
            <a:extLst>
              <a:ext uri="{FF2B5EF4-FFF2-40B4-BE49-F238E27FC236}">
                <a16:creationId xmlns:a16="http://schemas.microsoft.com/office/drawing/2014/main" id="{C9154607-D346-F7DC-91C3-8BC16B9EB754}"/>
              </a:ext>
            </a:extLst>
          </p:cNvPr>
          <p:cNvPicPr/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63521" y="2548342"/>
            <a:ext cx="409955" cy="409955"/>
          </a:xfrm>
          <a:prstGeom prst="rect">
            <a:avLst/>
          </a:prstGeom>
        </p:spPr>
      </p:pic>
      <p:pic>
        <p:nvPicPr>
          <p:cNvPr id="45" name="object 44">
            <a:extLst>
              <a:ext uri="{FF2B5EF4-FFF2-40B4-BE49-F238E27FC236}">
                <a16:creationId xmlns:a16="http://schemas.microsoft.com/office/drawing/2014/main" id="{FC5F4F00-9A77-78C9-2FA1-871FA2886CAF}"/>
              </a:ext>
            </a:extLst>
          </p:cNvPr>
          <p:cNvPicPr/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287011" y="2550093"/>
            <a:ext cx="495299" cy="493775"/>
          </a:xfrm>
          <a:prstGeom prst="rect">
            <a:avLst/>
          </a:prstGeom>
        </p:spPr>
      </p:pic>
      <p:grpSp>
        <p:nvGrpSpPr>
          <p:cNvPr id="49" name="object 52">
            <a:extLst>
              <a:ext uri="{FF2B5EF4-FFF2-40B4-BE49-F238E27FC236}">
                <a16:creationId xmlns:a16="http://schemas.microsoft.com/office/drawing/2014/main" id="{D3B761EB-E2AE-4A3B-3867-00E82EBE79F3}"/>
              </a:ext>
            </a:extLst>
          </p:cNvPr>
          <p:cNvGrpSpPr/>
          <p:nvPr/>
        </p:nvGrpSpPr>
        <p:grpSpPr>
          <a:xfrm>
            <a:off x="719326" y="5690960"/>
            <a:ext cx="11058526" cy="906318"/>
            <a:chOff x="685800" y="5221217"/>
            <a:chExt cx="11058525" cy="996950"/>
          </a:xfrm>
        </p:grpSpPr>
        <p:sp>
          <p:nvSpPr>
            <p:cNvPr id="50" name="object 53">
              <a:extLst>
                <a:ext uri="{FF2B5EF4-FFF2-40B4-BE49-F238E27FC236}">
                  <a16:creationId xmlns:a16="http://schemas.microsoft.com/office/drawing/2014/main" id="{1A096C5E-9825-1A78-B80A-FC9D1725D840}"/>
                </a:ext>
              </a:extLst>
            </p:cNvPr>
            <p:cNvSpPr/>
            <p:nvPr/>
          </p:nvSpPr>
          <p:spPr>
            <a:xfrm>
              <a:off x="685800" y="5221217"/>
              <a:ext cx="11058525" cy="996950"/>
            </a:xfrm>
            <a:custGeom>
              <a:avLst/>
              <a:gdLst/>
              <a:ahLst/>
              <a:cxnLst/>
              <a:rect l="l" t="t" r="r" b="b"/>
              <a:pathLst>
                <a:path w="11058525" h="996950">
                  <a:moveTo>
                    <a:pt x="11000041" y="0"/>
                  </a:moveTo>
                  <a:lnTo>
                    <a:pt x="58102" y="0"/>
                  </a:lnTo>
                  <a:lnTo>
                    <a:pt x="35490" y="4567"/>
                  </a:lnTo>
                  <a:lnTo>
                    <a:pt x="17021" y="17022"/>
                  </a:lnTo>
                  <a:lnTo>
                    <a:pt x="4567" y="35495"/>
                  </a:lnTo>
                  <a:lnTo>
                    <a:pt x="0" y="58115"/>
                  </a:lnTo>
                  <a:lnTo>
                    <a:pt x="0" y="938593"/>
                  </a:lnTo>
                  <a:lnTo>
                    <a:pt x="4567" y="961211"/>
                  </a:lnTo>
                  <a:lnTo>
                    <a:pt x="17021" y="979679"/>
                  </a:lnTo>
                  <a:lnTo>
                    <a:pt x="35490" y="992130"/>
                  </a:lnTo>
                  <a:lnTo>
                    <a:pt x="58102" y="996695"/>
                  </a:lnTo>
                  <a:lnTo>
                    <a:pt x="11000041" y="996695"/>
                  </a:lnTo>
                  <a:lnTo>
                    <a:pt x="11022659" y="992130"/>
                  </a:lnTo>
                  <a:lnTo>
                    <a:pt x="11041127" y="979679"/>
                  </a:lnTo>
                  <a:lnTo>
                    <a:pt x="11053578" y="961211"/>
                  </a:lnTo>
                  <a:lnTo>
                    <a:pt x="11058144" y="938593"/>
                  </a:lnTo>
                  <a:lnTo>
                    <a:pt x="11058144" y="58115"/>
                  </a:lnTo>
                  <a:lnTo>
                    <a:pt x="11053578" y="35495"/>
                  </a:lnTo>
                  <a:lnTo>
                    <a:pt x="11041127" y="17022"/>
                  </a:lnTo>
                  <a:lnTo>
                    <a:pt x="11022659" y="4567"/>
                  </a:lnTo>
                  <a:lnTo>
                    <a:pt x="1100004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6" name="object 59">
              <a:extLst>
                <a:ext uri="{FF2B5EF4-FFF2-40B4-BE49-F238E27FC236}">
                  <a16:creationId xmlns:a16="http://schemas.microsoft.com/office/drawing/2014/main" id="{CB4FAE15-D1F5-ACF3-CFB2-30F4F4A50FAB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9924795" y="6038335"/>
              <a:ext cx="664463" cy="161543"/>
            </a:xfrm>
            <a:prstGeom prst="rect">
              <a:avLst/>
            </a:prstGeom>
          </p:spPr>
        </p:pic>
        <p:pic>
          <p:nvPicPr>
            <p:cNvPr id="84" name="object 87">
              <a:extLst>
                <a:ext uri="{FF2B5EF4-FFF2-40B4-BE49-F238E27FC236}">
                  <a16:creationId xmlns:a16="http://schemas.microsoft.com/office/drawing/2014/main" id="{78633728-3752-E2EB-7B30-7F17284D8830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430830" y="5390888"/>
              <a:ext cx="814116" cy="219221"/>
            </a:xfrm>
            <a:prstGeom prst="rect">
              <a:avLst/>
            </a:prstGeom>
          </p:spPr>
        </p:pic>
        <p:pic>
          <p:nvPicPr>
            <p:cNvPr id="86" name="object 89">
              <a:extLst>
                <a:ext uri="{FF2B5EF4-FFF2-40B4-BE49-F238E27FC236}">
                  <a16:creationId xmlns:a16="http://schemas.microsoft.com/office/drawing/2014/main" id="{E1FCD716-1EC2-426E-1391-41E859FCA62C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6694427" y="6008847"/>
              <a:ext cx="847347" cy="126585"/>
            </a:xfrm>
            <a:prstGeom prst="rect">
              <a:avLst/>
            </a:prstGeom>
          </p:spPr>
        </p:pic>
      </p:grpSp>
      <p:pic>
        <p:nvPicPr>
          <p:cNvPr id="87" name="object 90">
            <a:extLst>
              <a:ext uri="{FF2B5EF4-FFF2-40B4-BE49-F238E27FC236}">
                <a16:creationId xmlns:a16="http://schemas.microsoft.com/office/drawing/2014/main" id="{BC953930-FD77-FF27-C638-711E364CA8F9}"/>
              </a:ext>
            </a:extLst>
          </p:cNvPr>
          <p:cNvPicPr/>
          <p:nvPr/>
        </p:nvPicPr>
        <p:blipFill>
          <a:blip r:embed="rId8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35149" y="1934417"/>
            <a:ext cx="338327" cy="338327"/>
          </a:xfrm>
          <a:prstGeom prst="rect">
            <a:avLst/>
          </a:prstGeom>
        </p:spPr>
      </p:pic>
      <p:pic>
        <p:nvPicPr>
          <p:cNvPr id="88" name="object 91">
            <a:extLst>
              <a:ext uri="{FF2B5EF4-FFF2-40B4-BE49-F238E27FC236}">
                <a16:creationId xmlns:a16="http://schemas.microsoft.com/office/drawing/2014/main" id="{4F00E7C6-B037-1FDF-20DB-758732B155E3}"/>
              </a:ext>
            </a:extLst>
          </p:cNvPr>
          <p:cNvPicPr/>
          <p:nvPr/>
        </p:nvPicPr>
        <p:blipFill>
          <a:blip r:embed="rId9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220456" y="1826205"/>
            <a:ext cx="473962" cy="374891"/>
          </a:xfrm>
          <a:prstGeom prst="rect">
            <a:avLst/>
          </a:prstGeom>
        </p:spPr>
      </p:pic>
      <p:sp>
        <p:nvSpPr>
          <p:cNvPr id="89" name="object 92">
            <a:extLst>
              <a:ext uri="{FF2B5EF4-FFF2-40B4-BE49-F238E27FC236}">
                <a16:creationId xmlns:a16="http://schemas.microsoft.com/office/drawing/2014/main" id="{156F7B40-0544-BEE3-0A0E-EEA96E6D5BF5}"/>
              </a:ext>
            </a:extLst>
          </p:cNvPr>
          <p:cNvSpPr txBox="1"/>
          <p:nvPr/>
        </p:nvSpPr>
        <p:spPr>
          <a:xfrm>
            <a:off x="8844828" y="1810234"/>
            <a:ext cx="2228556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en-US" sz="1200" spc="45" dirty="0">
                <a:latin typeface="Arial" panose="020B0604020202020204" pitchFamily="34" charset="0"/>
                <a:cs typeface="Arial" panose="020B0604020202020204" pitchFamily="34" charset="0"/>
              </a:rPr>
              <a:t>AI liberates staff for creative, value-added tasks</a:t>
            </a:r>
            <a:endParaRPr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0" name="object 93">
            <a:extLst>
              <a:ext uri="{FF2B5EF4-FFF2-40B4-BE49-F238E27FC236}">
                <a16:creationId xmlns:a16="http://schemas.microsoft.com/office/drawing/2014/main" id="{09563F84-E9EA-DD9D-43B3-3EA3372FC7EE}"/>
              </a:ext>
            </a:extLst>
          </p:cNvPr>
          <p:cNvPicPr/>
          <p:nvPr/>
        </p:nvPicPr>
        <p:blipFill>
          <a:blip r:embed="rId10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270747" y="2547044"/>
            <a:ext cx="416051" cy="416051"/>
          </a:xfrm>
          <a:prstGeom prst="rect">
            <a:avLst/>
          </a:prstGeom>
        </p:spPr>
      </p:pic>
      <p:sp>
        <p:nvSpPr>
          <p:cNvPr id="91" name="object 94">
            <a:extLst>
              <a:ext uri="{FF2B5EF4-FFF2-40B4-BE49-F238E27FC236}">
                <a16:creationId xmlns:a16="http://schemas.microsoft.com/office/drawing/2014/main" id="{C1976130-9D07-7A03-4A1B-2B190DD43ECB}"/>
              </a:ext>
            </a:extLst>
          </p:cNvPr>
          <p:cNvSpPr txBox="1"/>
          <p:nvPr/>
        </p:nvSpPr>
        <p:spPr>
          <a:xfrm>
            <a:off x="8867873" y="2575976"/>
            <a:ext cx="2389267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200" spc="-15" dirty="0">
                <a:latin typeface="Arial" panose="020B0604020202020204" pitchFamily="34" charset="0"/>
                <a:cs typeface="Arial" panose="020B0604020202020204" pitchFamily="34" charset="0"/>
              </a:rPr>
              <a:t>Mutual growth, for both company performance and employee literacy</a:t>
            </a:r>
            <a:endParaRPr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2" name="object 45">
            <a:extLst>
              <a:ext uri="{FF2B5EF4-FFF2-40B4-BE49-F238E27FC236}">
                <a16:creationId xmlns:a16="http://schemas.microsoft.com/office/drawing/2014/main" id="{926CABD1-4E8D-DBDC-162D-79AAA0964F6F}"/>
              </a:ext>
            </a:extLst>
          </p:cNvPr>
          <p:cNvGrpSpPr/>
          <p:nvPr/>
        </p:nvGrpSpPr>
        <p:grpSpPr>
          <a:xfrm>
            <a:off x="9933431" y="141731"/>
            <a:ext cx="2118360" cy="1152526"/>
            <a:chOff x="9933431" y="141731"/>
            <a:chExt cx="2118360" cy="1152526"/>
          </a:xfrm>
        </p:grpSpPr>
        <p:sp>
          <p:nvSpPr>
            <p:cNvPr id="93" name="object 46">
              <a:extLst>
                <a:ext uri="{FF2B5EF4-FFF2-40B4-BE49-F238E27FC236}">
                  <a16:creationId xmlns:a16="http://schemas.microsoft.com/office/drawing/2014/main" id="{58AF40F7-B2E6-8EB8-9D06-EC4264D9FAF3}"/>
                </a:ext>
              </a:extLst>
            </p:cNvPr>
            <p:cNvSpPr/>
            <p:nvPr/>
          </p:nvSpPr>
          <p:spPr>
            <a:xfrm>
              <a:off x="9933431" y="240792"/>
              <a:ext cx="2118360" cy="1053465"/>
            </a:xfrm>
            <a:custGeom>
              <a:avLst/>
              <a:gdLst/>
              <a:ahLst/>
              <a:cxnLst/>
              <a:rect l="l" t="t" r="r" b="b"/>
              <a:pathLst>
                <a:path w="2118359" h="1053465">
                  <a:moveTo>
                    <a:pt x="0" y="0"/>
                  </a:moveTo>
                  <a:lnTo>
                    <a:pt x="2118360" y="0"/>
                  </a:lnTo>
                  <a:lnTo>
                    <a:pt x="2118360" y="1053084"/>
                  </a:lnTo>
                  <a:lnTo>
                    <a:pt x="0" y="1053084"/>
                  </a:lnTo>
                  <a:lnTo>
                    <a:pt x="0" y="0"/>
                  </a:lnTo>
                  <a:close/>
                </a:path>
              </a:pathLst>
            </a:custGeom>
            <a:ln w="12192">
              <a:solidFill>
                <a:srgbClr val="00294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4" name="object 47">
              <a:extLst>
                <a:ext uri="{FF2B5EF4-FFF2-40B4-BE49-F238E27FC236}">
                  <a16:creationId xmlns:a16="http://schemas.microsoft.com/office/drawing/2014/main" id="{DF7A8326-3787-A21C-0EE5-E741693A454F}"/>
                </a:ext>
              </a:extLst>
            </p:cNvPr>
            <p:cNvSpPr/>
            <p:nvPr/>
          </p:nvSpPr>
          <p:spPr>
            <a:xfrm>
              <a:off x="10206227" y="141731"/>
              <a:ext cx="1571625" cy="236220"/>
            </a:xfrm>
            <a:custGeom>
              <a:avLst/>
              <a:gdLst/>
              <a:ahLst/>
              <a:cxnLst/>
              <a:rect l="l" t="t" r="r" b="b"/>
              <a:pathLst>
                <a:path w="1571625" h="236220">
                  <a:moveTo>
                    <a:pt x="1571244" y="0"/>
                  </a:moveTo>
                  <a:lnTo>
                    <a:pt x="0" y="0"/>
                  </a:lnTo>
                  <a:lnTo>
                    <a:pt x="0" y="236220"/>
                  </a:lnTo>
                  <a:lnTo>
                    <a:pt x="1571244" y="236220"/>
                  </a:lnTo>
                  <a:lnTo>
                    <a:pt x="157124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97" name="TextBox 96">
            <a:extLst>
              <a:ext uri="{FF2B5EF4-FFF2-40B4-BE49-F238E27FC236}">
                <a16:creationId xmlns:a16="http://schemas.microsoft.com/office/drawing/2014/main" id="{A030BA7C-2C50-64C7-EE0B-2AEF763052A1}"/>
              </a:ext>
            </a:extLst>
          </p:cNvPr>
          <p:cNvSpPr txBox="1"/>
          <p:nvPr/>
        </p:nvSpPr>
        <p:spPr>
          <a:xfrm>
            <a:off x="9958321" y="540135"/>
            <a:ext cx="2093469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of firms have </a:t>
            </a: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accelerated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execution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of their </a:t>
            </a: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AI transformation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since last year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753A54FB-8E04-5572-DB95-697F2E6226C6}"/>
              </a:ext>
            </a:extLst>
          </p:cNvPr>
          <p:cNvSpPr txBox="1"/>
          <p:nvPr/>
        </p:nvSpPr>
        <p:spPr>
          <a:xfrm>
            <a:off x="9958322" y="1074085"/>
            <a:ext cx="211836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i="1" dirty="0">
                <a:latin typeface="Arial" panose="020B0604020202020204" pitchFamily="34" charset="0"/>
                <a:cs typeface="Arial" panose="020B0604020202020204" pitchFamily="34" charset="0"/>
              </a:rPr>
              <a:t>Accenture Pulse of Change: 2024 Index</a:t>
            </a:r>
          </a:p>
        </p:txBody>
      </p:sp>
      <p:grpSp>
        <p:nvGrpSpPr>
          <p:cNvPr id="15" name="object 13">
            <a:extLst>
              <a:ext uri="{FF2B5EF4-FFF2-40B4-BE49-F238E27FC236}">
                <a16:creationId xmlns:a16="http://schemas.microsoft.com/office/drawing/2014/main" id="{2E7D2F5B-C189-8FD1-FA86-DC71B1B795B9}"/>
              </a:ext>
            </a:extLst>
          </p:cNvPr>
          <p:cNvGrpSpPr/>
          <p:nvPr/>
        </p:nvGrpSpPr>
        <p:grpSpPr>
          <a:xfrm>
            <a:off x="4940079" y="3757407"/>
            <a:ext cx="2016760" cy="615950"/>
            <a:chOff x="4329557" y="3470021"/>
            <a:chExt cx="2016760" cy="615950"/>
          </a:xfrm>
          <a:solidFill>
            <a:schemeClr val="bg2"/>
          </a:solidFill>
        </p:grpSpPr>
        <p:sp>
          <p:nvSpPr>
            <p:cNvPr id="16" name="object 14">
              <a:extLst>
                <a:ext uri="{FF2B5EF4-FFF2-40B4-BE49-F238E27FC236}">
                  <a16:creationId xmlns:a16="http://schemas.microsoft.com/office/drawing/2014/main" id="{DE0D029D-024F-E920-F413-860A26FC291C}"/>
                </a:ext>
              </a:extLst>
            </p:cNvPr>
            <p:cNvSpPr/>
            <p:nvPr/>
          </p:nvSpPr>
          <p:spPr>
            <a:xfrm>
              <a:off x="4332732" y="3473196"/>
              <a:ext cx="2010410" cy="609600"/>
            </a:xfrm>
            <a:custGeom>
              <a:avLst/>
              <a:gdLst/>
              <a:ahLst/>
              <a:cxnLst/>
              <a:rect l="l" t="t" r="r" b="b"/>
              <a:pathLst>
                <a:path w="2010410" h="609600">
                  <a:moveTo>
                    <a:pt x="1705089" y="0"/>
                  </a:moveTo>
                  <a:lnTo>
                    <a:pt x="0" y="0"/>
                  </a:lnTo>
                  <a:lnTo>
                    <a:pt x="305066" y="304800"/>
                  </a:lnTo>
                  <a:lnTo>
                    <a:pt x="0" y="609600"/>
                  </a:lnTo>
                  <a:lnTo>
                    <a:pt x="1705089" y="609600"/>
                  </a:lnTo>
                  <a:lnTo>
                    <a:pt x="2010156" y="304800"/>
                  </a:lnTo>
                  <a:lnTo>
                    <a:pt x="1705089" y="0"/>
                  </a:lnTo>
                  <a:close/>
                </a:path>
              </a:pathLst>
            </a:custGeom>
            <a:grpFill/>
            <a:ln>
              <a:solidFill>
                <a:schemeClr val="bg2">
                  <a:lumMod val="50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object 15">
              <a:extLst>
                <a:ext uri="{FF2B5EF4-FFF2-40B4-BE49-F238E27FC236}">
                  <a16:creationId xmlns:a16="http://schemas.microsoft.com/office/drawing/2014/main" id="{3B4EA23D-30FC-78A6-A756-EF3FE20FB265}"/>
                </a:ext>
              </a:extLst>
            </p:cNvPr>
            <p:cNvSpPr/>
            <p:nvPr/>
          </p:nvSpPr>
          <p:spPr>
            <a:xfrm>
              <a:off x="4332732" y="3473196"/>
              <a:ext cx="2010410" cy="609600"/>
            </a:xfrm>
            <a:custGeom>
              <a:avLst/>
              <a:gdLst/>
              <a:ahLst/>
              <a:cxnLst/>
              <a:rect l="l" t="t" r="r" b="b"/>
              <a:pathLst>
                <a:path w="2010410" h="609600">
                  <a:moveTo>
                    <a:pt x="0" y="0"/>
                  </a:moveTo>
                  <a:lnTo>
                    <a:pt x="1705089" y="0"/>
                  </a:lnTo>
                  <a:lnTo>
                    <a:pt x="2010156" y="304800"/>
                  </a:lnTo>
                  <a:lnTo>
                    <a:pt x="1705089" y="609600"/>
                  </a:lnTo>
                  <a:lnTo>
                    <a:pt x="0" y="609600"/>
                  </a:lnTo>
                  <a:lnTo>
                    <a:pt x="305066" y="3048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096">
              <a:solidFill>
                <a:schemeClr val="bg2">
                  <a:lumMod val="50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4" name="object 20">
            <a:extLst>
              <a:ext uri="{FF2B5EF4-FFF2-40B4-BE49-F238E27FC236}">
                <a16:creationId xmlns:a16="http://schemas.microsoft.com/office/drawing/2014/main" id="{C9224659-A6F1-5530-0BF2-0C890D43D1AF}"/>
              </a:ext>
            </a:extLst>
          </p:cNvPr>
          <p:cNvSpPr txBox="1"/>
          <p:nvPr/>
        </p:nvSpPr>
        <p:spPr>
          <a:xfrm>
            <a:off x="5480583" y="3892834"/>
            <a:ext cx="990453" cy="30258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wrap="square" lIns="0" tIns="29209" rIns="0" bIns="0" rtlCol="0">
            <a:spAutoFit/>
          </a:bodyPr>
          <a:lstStyle/>
          <a:p>
            <a:pPr marL="170815" marR="5080" indent="-158750">
              <a:lnSpc>
                <a:spcPts val="1080"/>
              </a:lnSpc>
              <a:spcBef>
                <a:spcPts val="229"/>
              </a:spcBef>
            </a:pPr>
            <a:r>
              <a:rPr lang="en-US" sz="900" spc="55" dirty="0">
                <a:latin typeface="Arial" panose="020B0604020202020204" pitchFamily="34" charset="0"/>
                <a:cs typeface="Arial" panose="020B0604020202020204" pitchFamily="34" charset="0"/>
              </a:rPr>
              <a:t>Roadmap Development</a:t>
            </a:r>
            <a:endParaRPr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3" name="object 21">
            <a:extLst>
              <a:ext uri="{FF2B5EF4-FFF2-40B4-BE49-F238E27FC236}">
                <a16:creationId xmlns:a16="http://schemas.microsoft.com/office/drawing/2014/main" id="{A2B448FE-8E8C-F72E-5A77-E542CD0D22B2}"/>
              </a:ext>
            </a:extLst>
          </p:cNvPr>
          <p:cNvGrpSpPr/>
          <p:nvPr/>
        </p:nvGrpSpPr>
        <p:grpSpPr>
          <a:xfrm>
            <a:off x="9166800" y="3758994"/>
            <a:ext cx="2012314" cy="612775"/>
            <a:chOff x="7947596" y="3471608"/>
            <a:chExt cx="2012314" cy="612775"/>
          </a:xfrm>
          <a:solidFill>
            <a:schemeClr val="bg2"/>
          </a:solidFill>
        </p:grpSpPr>
        <p:sp>
          <p:nvSpPr>
            <p:cNvPr id="24" name="object 22">
              <a:extLst>
                <a:ext uri="{FF2B5EF4-FFF2-40B4-BE49-F238E27FC236}">
                  <a16:creationId xmlns:a16="http://schemas.microsoft.com/office/drawing/2014/main" id="{821112F5-6B01-C6D4-614A-9893D92B02A3}"/>
                </a:ext>
              </a:extLst>
            </p:cNvPr>
            <p:cNvSpPr/>
            <p:nvPr/>
          </p:nvSpPr>
          <p:spPr>
            <a:xfrm>
              <a:off x="7949183" y="3473196"/>
              <a:ext cx="2009139" cy="609600"/>
            </a:xfrm>
            <a:custGeom>
              <a:avLst/>
              <a:gdLst/>
              <a:ahLst/>
              <a:cxnLst/>
              <a:rect l="l" t="t" r="r" b="b"/>
              <a:pathLst>
                <a:path w="2009140" h="609600">
                  <a:moveTo>
                    <a:pt x="1703793" y="0"/>
                  </a:moveTo>
                  <a:lnTo>
                    <a:pt x="0" y="0"/>
                  </a:lnTo>
                  <a:lnTo>
                    <a:pt x="304838" y="304800"/>
                  </a:lnTo>
                  <a:lnTo>
                    <a:pt x="0" y="609600"/>
                  </a:lnTo>
                  <a:lnTo>
                    <a:pt x="1703793" y="609600"/>
                  </a:lnTo>
                  <a:lnTo>
                    <a:pt x="2008632" y="304800"/>
                  </a:lnTo>
                  <a:lnTo>
                    <a:pt x="1703793" y="0"/>
                  </a:lnTo>
                  <a:close/>
                </a:path>
              </a:pathLst>
            </a:custGeom>
            <a:grpFill/>
            <a:ln>
              <a:solidFill>
                <a:schemeClr val="bg2">
                  <a:lumMod val="50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object 23">
              <a:extLst>
                <a:ext uri="{FF2B5EF4-FFF2-40B4-BE49-F238E27FC236}">
                  <a16:creationId xmlns:a16="http://schemas.microsoft.com/office/drawing/2014/main" id="{9FAAD5D1-FBF4-FBD0-CC3E-5B80FE01212D}"/>
                </a:ext>
              </a:extLst>
            </p:cNvPr>
            <p:cNvSpPr/>
            <p:nvPr/>
          </p:nvSpPr>
          <p:spPr>
            <a:xfrm>
              <a:off x="7949183" y="3473196"/>
              <a:ext cx="2009139" cy="609600"/>
            </a:xfrm>
            <a:custGeom>
              <a:avLst/>
              <a:gdLst/>
              <a:ahLst/>
              <a:cxnLst/>
              <a:rect l="l" t="t" r="r" b="b"/>
              <a:pathLst>
                <a:path w="2009140" h="609600">
                  <a:moveTo>
                    <a:pt x="0" y="0"/>
                  </a:moveTo>
                  <a:lnTo>
                    <a:pt x="1703793" y="0"/>
                  </a:lnTo>
                  <a:lnTo>
                    <a:pt x="2008632" y="304800"/>
                  </a:lnTo>
                  <a:lnTo>
                    <a:pt x="1703793" y="609600"/>
                  </a:lnTo>
                  <a:lnTo>
                    <a:pt x="0" y="609600"/>
                  </a:lnTo>
                  <a:lnTo>
                    <a:pt x="304838" y="3048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2">
                  <a:lumMod val="50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5" name="object 20">
            <a:extLst>
              <a:ext uri="{FF2B5EF4-FFF2-40B4-BE49-F238E27FC236}">
                <a16:creationId xmlns:a16="http://schemas.microsoft.com/office/drawing/2014/main" id="{D9764C86-142A-1571-553E-A87111FDEC46}"/>
              </a:ext>
            </a:extLst>
          </p:cNvPr>
          <p:cNvSpPr txBox="1"/>
          <p:nvPr/>
        </p:nvSpPr>
        <p:spPr>
          <a:xfrm>
            <a:off x="9656529" y="3892834"/>
            <a:ext cx="1088614" cy="31162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wrap="square" lIns="0" tIns="29209" rIns="0" bIns="0" rtlCol="0">
            <a:spAutoFit/>
          </a:bodyPr>
          <a:lstStyle/>
          <a:p>
            <a:pPr marL="170815" marR="5080" indent="-158750">
              <a:lnSpc>
                <a:spcPts val="1080"/>
              </a:lnSpc>
              <a:spcBef>
                <a:spcPts val="229"/>
              </a:spcBef>
            </a:pPr>
            <a:r>
              <a:rPr lang="en-US" sz="900" spc="55" dirty="0">
                <a:latin typeface="Arial" panose="020B0604020202020204" pitchFamily="34" charset="0"/>
                <a:cs typeface="Arial" panose="020B0604020202020204" pitchFamily="34" charset="0"/>
              </a:rPr>
              <a:t>Assessment and Iteration</a:t>
            </a:r>
            <a:endParaRPr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1" name="Picture 110">
            <a:extLst>
              <a:ext uri="{FF2B5EF4-FFF2-40B4-BE49-F238E27FC236}">
                <a16:creationId xmlns:a16="http://schemas.microsoft.com/office/drawing/2014/main" id="{859851D9-979D-2B9B-C4F1-4F929C3733E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900682" y="6009219"/>
            <a:ext cx="941893" cy="255687"/>
          </a:xfrm>
          <a:prstGeom prst="rect">
            <a:avLst/>
          </a:prstGeom>
        </p:spPr>
      </p:pic>
      <p:pic>
        <p:nvPicPr>
          <p:cNvPr id="112" name="Picture 111">
            <a:extLst>
              <a:ext uri="{FF2B5EF4-FFF2-40B4-BE49-F238E27FC236}">
                <a16:creationId xmlns:a16="http://schemas.microsoft.com/office/drawing/2014/main" id="{EEEDA034-DB34-1C8D-F549-E8D972A9569D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21083" t="30749" r="18896" b="31391"/>
          <a:stretch/>
        </p:blipFill>
        <p:spPr>
          <a:xfrm>
            <a:off x="6411782" y="5970082"/>
            <a:ext cx="782259" cy="325867"/>
          </a:xfrm>
          <a:prstGeom prst="rect">
            <a:avLst/>
          </a:prstGeom>
        </p:spPr>
      </p:pic>
      <p:pic>
        <p:nvPicPr>
          <p:cNvPr id="117" name="Picture 116">
            <a:extLst>
              <a:ext uri="{FF2B5EF4-FFF2-40B4-BE49-F238E27FC236}">
                <a16:creationId xmlns:a16="http://schemas.microsoft.com/office/drawing/2014/main" id="{0AF00ABE-207C-6805-DBEF-C71CCDF35159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t="24764"/>
          <a:stretch/>
        </p:blipFill>
        <p:spPr>
          <a:xfrm>
            <a:off x="10926319" y="5732050"/>
            <a:ext cx="804000" cy="338743"/>
          </a:xfrm>
          <a:prstGeom prst="rect">
            <a:avLst/>
          </a:prstGeom>
        </p:spPr>
      </p:pic>
      <p:pic>
        <p:nvPicPr>
          <p:cNvPr id="119" name="Picture 118">
            <a:extLst>
              <a:ext uri="{FF2B5EF4-FFF2-40B4-BE49-F238E27FC236}">
                <a16:creationId xmlns:a16="http://schemas.microsoft.com/office/drawing/2014/main" id="{9740A7D3-F971-6E4B-BF4F-FDC50AB681C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188211" y="5810176"/>
            <a:ext cx="665017" cy="373655"/>
          </a:xfrm>
          <a:prstGeom prst="rect">
            <a:avLst/>
          </a:prstGeom>
        </p:spPr>
      </p:pic>
      <p:pic>
        <p:nvPicPr>
          <p:cNvPr id="120" name="Picture 119">
            <a:extLst>
              <a:ext uri="{FF2B5EF4-FFF2-40B4-BE49-F238E27FC236}">
                <a16:creationId xmlns:a16="http://schemas.microsoft.com/office/drawing/2014/main" id="{55FDA6E4-DE97-7488-7BE4-EEA32BEC04F2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413628" y="5762711"/>
            <a:ext cx="1223561" cy="136631"/>
          </a:xfrm>
          <a:prstGeom prst="rect">
            <a:avLst/>
          </a:prstGeom>
        </p:spPr>
      </p:pic>
      <p:pic>
        <p:nvPicPr>
          <p:cNvPr id="121" name="Picture 120">
            <a:extLst>
              <a:ext uri="{FF2B5EF4-FFF2-40B4-BE49-F238E27FC236}">
                <a16:creationId xmlns:a16="http://schemas.microsoft.com/office/drawing/2014/main" id="{F960DD0B-5818-E24C-877D-2AE800A111DA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648801" y="5927188"/>
            <a:ext cx="668980" cy="267592"/>
          </a:xfrm>
          <a:prstGeom prst="rect">
            <a:avLst/>
          </a:prstGeom>
        </p:spPr>
      </p:pic>
      <p:pic>
        <p:nvPicPr>
          <p:cNvPr id="122" name="Picture 121">
            <a:extLst>
              <a:ext uri="{FF2B5EF4-FFF2-40B4-BE49-F238E27FC236}">
                <a16:creationId xmlns:a16="http://schemas.microsoft.com/office/drawing/2014/main" id="{7615E3A2-5FA4-E90B-5A2C-AF51153A2C77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174713" y="6256304"/>
            <a:ext cx="691200" cy="232186"/>
          </a:xfrm>
          <a:prstGeom prst="rect">
            <a:avLst/>
          </a:prstGeom>
        </p:spPr>
      </p:pic>
      <p:pic>
        <p:nvPicPr>
          <p:cNvPr id="124" name="Picture 123">
            <a:extLst>
              <a:ext uri="{FF2B5EF4-FFF2-40B4-BE49-F238E27FC236}">
                <a16:creationId xmlns:a16="http://schemas.microsoft.com/office/drawing/2014/main" id="{CDE05BED-1A97-0D5B-399D-1765F701ED8A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095452" y="6211698"/>
            <a:ext cx="677168" cy="203647"/>
          </a:xfrm>
          <a:prstGeom prst="rect">
            <a:avLst/>
          </a:prstGeom>
        </p:spPr>
      </p:pic>
      <p:pic>
        <p:nvPicPr>
          <p:cNvPr id="126" name="Picture 125">
            <a:extLst>
              <a:ext uri="{FF2B5EF4-FFF2-40B4-BE49-F238E27FC236}">
                <a16:creationId xmlns:a16="http://schemas.microsoft.com/office/drawing/2014/main" id="{FF523199-FDC2-6D20-5F95-537153D441A2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8409691" y="5987224"/>
            <a:ext cx="694271" cy="462006"/>
          </a:xfrm>
          <a:prstGeom prst="rect">
            <a:avLst/>
          </a:prstGeom>
        </p:spPr>
      </p:pic>
      <p:pic>
        <p:nvPicPr>
          <p:cNvPr id="127" name="Picture 126">
            <a:extLst>
              <a:ext uri="{FF2B5EF4-FFF2-40B4-BE49-F238E27FC236}">
                <a16:creationId xmlns:a16="http://schemas.microsoft.com/office/drawing/2014/main" id="{1EA5B52A-CB2E-0333-273E-903053F5C5FD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2236020" y="6175133"/>
            <a:ext cx="541118" cy="379591"/>
          </a:xfrm>
          <a:prstGeom prst="rect">
            <a:avLst/>
          </a:prstGeom>
        </p:spPr>
      </p:pic>
      <p:pic>
        <p:nvPicPr>
          <p:cNvPr id="128" name="Picture 127">
            <a:extLst>
              <a:ext uri="{FF2B5EF4-FFF2-40B4-BE49-F238E27FC236}">
                <a16:creationId xmlns:a16="http://schemas.microsoft.com/office/drawing/2014/main" id="{ADC37A9D-07E1-7F7C-0562-4D9792BC1D73}"/>
              </a:ext>
            </a:extLst>
          </p:cNvPr>
          <p:cNvPicPr>
            <a:picLocks noChangeAspect="1"/>
          </p:cNvPicPr>
          <p:nvPr/>
        </p:nvPicPr>
        <p:blipFill rotWithShape="1">
          <a:blip r:embed="rId21"/>
          <a:srcRect l="20488" r="21771"/>
          <a:stretch/>
        </p:blipFill>
        <p:spPr>
          <a:xfrm>
            <a:off x="4495726" y="5961651"/>
            <a:ext cx="439028" cy="489325"/>
          </a:xfrm>
          <a:prstGeom prst="rect">
            <a:avLst/>
          </a:prstGeom>
        </p:spPr>
      </p:pic>
      <p:pic>
        <p:nvPicPr>
          <p:cNvPr id="129" name="Picture 128">
            <a:extLst>
              <a:ext uri="{FF2B5EF4-FFF2-40B4-BE49-F238E27FC236}">
                <a16:creationId xmlns:a16="http://schemas.microsoft.com/office/drawing/2014/main" id="{BE34F110-7019-D5A0-EFF1-C4FA864B621D}"/>
              </a:ext>
            </a:extLst>
          </p:cNvPr>
          <p:cNvPicPr>
            <a:picLocks noChangeAspect="1"/>
          </p:cNvPicPr>
          <p:nvPr/>
        </p:nvPicPr>
        <p:blipFill rotWithShape="1">
          <a:blip r:embed="rId22"/>
          <a:srcRect l="9462" t="19858" r="4296" b="17891"/>
          <a:stretch/>
        </p:blipFill>
        <p:spPr>
          <a:xfrm>
            <a:off x="1454888" y="5699174"/>
            <a:ext cx="790669" cy="319598"/>
          </a:xfrm>
          <a:prstGeom prst="rect">
            <a:avLst/>
          </a:prstGeom>
        </p:spPr>
      </p:pic>
      <p:pic>
        <p:nvPicPr>
          <p:cNvPr id="130" name="Picture 129">
            <a:extLst>
              <a:ext uri="{FF2B5EF4-FFF2-40B4-BE49-F238E27FC236}">
                <a16:creationId xmlns:a16="http://schemas.microsoft.com/office/drawing/2014/main" id="{538DB3DD-C7E8-D117-FE7F-F6EFC72E8AC5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4927751" y="5707076"/>
            <a:ext cx="725106" cy="362553"/>
          </a:xfrm>
          <a:prstGeom prst="rect">
            <a:avLst/>
          </a:prstGeom>
        </p:spPr>
      </p:pic>
      <p:pic>
        <p:nvPicPr>
          <p:cNvPr id="131" name="Picture 130">
            <a:extLst>
              <a:ext uri="{FF2B5EF4-FFF2-40B4-BE49-F238E27FC236}">
                <a16:creationId xmlns:a16="http://schemas.microsoft.com/office/drawing/2014/main" id="{60CE2654-8F9D-1504-7C44-0CC3A29CEEC8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8489252" y="5698415"/>
            <a:ext cx="777551" cy="408841"/>
          </a:xfrm>
          <a:prstGeom prst="rect">
            <a:avLst/>
          </a:prstGeom>
        </p:spPr>
      </p:pic>
      <p:pic>
        <p:nvPicPr>
          <p:cNvPr id="132" name="Picture 131">
            <a:extLst>
              <a:ext uri="{FF2B5EF4-FFF2-40B4-BE49-F238E27FC236}">
                <a16:creationId xmlns:a16="http://schemas.microsoft.com/office/drawing/2014/main" id="{E1BE0C43-64A0-AFF3-375B-55B64D9842D5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6507174" y="5694176"/>
            <a:ext cx="659187" cy="329594"/>
          </a:xfrm>
          <a:prstGeom prst="rect">
            <a:avLst/>
          </a:prstGeom>
        </p:spPr>
      </p:pic>
      <p:pic>
        <p:nvPicPr>
          <p:cNvPr id="133" name="Picture 132">
            <a:extLst>
              <a:ext uri="{FF2B5EF4-FFF2-40B4-BE49-F238E27FC236}">
                <a16:creationId xmlns:a16="http://schemas.microsoft.com/office/drawing/2014/main" id="{7120DCA2-12FA-5A3C-88AC-A65226B6732C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3812314" y="5753873"/>
            <a:ext cx="704106" cy="210719"/>
          </a:xfrm>
          <a:prstGeom prst="rect">
            <a:avLst/>
          </a:prstGeom>
        </p:spPr>
      </p:pic>
      <p:pic>
        <p:nvPicPr>
          <p:cNvPr id="134" name="Picture 133">
            <a:extLst>
              <a:ext uri="{FF2B5EF4-FFF2-40B4-BE49-F238E27FC236}">
                <a16:creationId xmlns:a16="http://schemas.microsoft.com/office/drawing/2014/main" id="{14713E19-9AA8-57F2-9B26-B7858BA3F034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784390" y="5733930"/>
            <a:ext cx="638674" cy="371674"/>
          </a:xfrm>
          <a:prstGeom prst="rect">
            <a:avLst/>
          </a:prstGeom>
        </p:spPr>
      </p:pic>
      <p:pic>
        <p:nvPicPr>
          <p:cNvPr id="135" name="Picture 134">
            <a:extLst>
              <a:ext uri="{FF2B5EF4-FFF2-40B4-BE49-F238E27FC236}">
                <a16:creationId xmlns:a16="http://schemas.microsoft.com/office/drawing/2014/main" id="{1678AE22-D460-D0BB-0371-37657306036A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3096661" y="6368772"/>
            <a:ext cx="1217632" cy="214339"/>
          </a:xfrm>
          <a:prstGeom prst="rect">
            <a:avLst/>
          </a:prstGeom>
        </p:spPr>
      </p:pic>
      <p:pic>
        <p:nvPicPr>
          <p:cNvPr id="136" name="Picture 135">
            <a:extLst>
              <a:ext uri="{FF2B5EF4-FFF2-40B4-BE49-F238E27FC236}">
                <a16:creationId xmlns:a16="http://schemas.microsoft.com/office/drawing/2014/main" id="{6F9A92C9-E2C9-B011-22CC-3FB0DFB0658B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763662" y="6187581"/>
            <a:ext cx="706865" cy="369395"/>
          </a:xfrm>
          <a:prstGeom prst="rect">
            <a:avLst/>
          </a:prstGeom>
        </p:spPr>
      </p:pic>
      <p:pic>
        <p:nvPicPr>
          <p:cNvPr id="137" name="Picture 136">
            <a:extLst>
              <a:ext uri="{FF2B5EF4-FFF2-40B4-BE49-F238E27FC236}">
                <a16:creationId xmlns:a16="http://schemas.microsoft.com/office/drawing/2014/main" id="{FC759ED0-F92D-9AB3-DDD9-88A1922ED3AA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9885352" y="5727784"/>
            <a:ext cx="930188" cy="398808"/>
          </a:xfrm>
          <a:prstGeom prst="rect">
            <a:avLst/>
          </a:prstGeom>
        </p:spPr>
      </p:pic>
      <p:pic>
        <p:nvPicPr>
          <p:cNvPr id="138" name="Picture 137">
            <a:extLst>
              <a:ext uri="{FF2B5EF4-FFF2-40B4-BE49-F238E27FC236}">
                <a16:creationId xmlns:a16="http://schemas.microsoft.com/office/drawing/2014/main" id="{B8CD7481-6828-5396-FC5A-9B4AD07AF778}"/>
              </a:ext>
            </a:extLst>
          </p:cNvPr>
          <p:cNvPicPr>
            <a:picLocks noChangeAspect="1"/>
          </p:cNvPicPr>
          <p:nvPr/>
        </p:nvPicPr>
        <p:blipFill rotWithShape="1">
          <a:blip r:embed="rId31"/>
          <a:srcRect l="15835" t="13052" r="8763" b="19888"/>
          <a:stretch/>
        </p:blipFill>
        <p:spPr>
          <a:xfrm>
            <a:off x="11039136" y="6271852"/>
            <a:ext cx="664463" cy="295470"/>
          </a:xfrm>
          <a:prstGeom prst="rect">
            <a:avLst/>
          </a:prstGeom>
        </p:spPr>
      </p:pic>
      <p:pic>
        <p:nvPicPr>
          <p:cNvPr id="139" name="Picture 138">
            <a:extLst>
              <a:ext uri="{FF2B5EF4-FFF2-40B4-BE49-F238E27FC236}">
                <a16:creationId xmlns:a16="http://schemas.microsoft.com/office/drawing/2014/main" id="{BBE818C7-6380-1B94-371B-55788122B755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10314285" y="6120246"/>
            <a:ext cx="861716" cy="171315"/>
          </a:xfrm>
          <a:prstGeom prst="rect">
            <a:avLst/>
          </a:prstGeom>
        </p:spPr>
      </p:pic>
      <p:sp>
        <p:nvSpPr>
          <p:cNvPr id="46" name="object 49">
            <a:extLst>
              <a:ext uri="{FF2B5EF4-FFF2-40B4-BE49-F238E27FC236}">
                <a16:creationId xmlns:a16="http://schemas.microsoft.com/office/drawing/2014/main" id="{A7B729D9-63C3-645A-53A9-7CED538F995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0237812" y="11180"/>
            <a:ext cx="1489582" cy="534762"/>
          </a:xfrm>
          <a:prstGeom prst="rect">
            <a:avLst/>
          </a:prstGeom>
        </p:spPr>
        <p:txBody>
          <a:bodyPr vert="horz" wrap="square" lIns="0" tIns="4191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330"/>
              </a:spcBef>
            </a:pPr>
            <a:r>
              <a:rPr lang="en-US" sz="3200" spc="-80" dirty="0">
                <a:solidFill>
                  <a:srgbClr val="C00000"/>
                </a:solidFill>
                <a:latin typeface="Georgia" panose="02040502050405020303" pitchFamily="18" charset="0"/>
              </a:rPr>
              <a:t>83%</a:t>
            </a:r>
            <a:endParaRPr sz="3200" dirty="0">
              <a:solidFill>
                <a:srgbClr val="C00000"/>
              </a:solidFill>
              <a:latin typeface="Georgia" panose="02040502050405020303" pitchFamily="18" charset="0"/>
            </a:endParaRPr>
          </a:p>
        </p:txBody>
      </p:sp>
      <p:sp>
        <p:nvSpPr>
          <p:cNvPr id="142" name="object 39">
            <a:extLst>
              <a:ext uri="{FF2B5EF4-FFF2-40B4-BE49-F238E27FC236}">
                <a16:creationId xmlns:a16="http://schemas.microsoft.com/office/drawing/2014/main" id="{03FB4F11-59A2-928C-22DB-6DCFBAE1FDDE}"/>
              </a:ext>
            </a:extLst>
          </p:cNvPr>
          <p:cNvSpPr txBox="1"/>
          <p:nvPr/>
        </p:nvSpPr>
        <p:spPr>
          <a:xfrm>
            <a:off x="718589" y="5212528"/>
            <a:ext cx="8593704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b="1" spc="5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day, everyone is an AI player</a:t>
            </a:r>
            <a:endParaRPr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876B720-7BA4-26FA-A400-9C7FED3F71CD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1477958" y="6010023"/>
            <a:ext cx="706866" cy="36939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33D24D6-FB52-2CBA-4885-3E2F5C9684F1}"/>
              </a:ext>
            </a:extLst>
          </p:cNvPr>
          <p:cNvPicPr>
            <a:picLocks noChangeAspect="1"/>
          </p:cNvPicPr>
          <p:nvPr/>
        </p:nvPicPr>
        <p:blipFill rotWithShape="1">
          <a:blip r:embed="rId34"/>
          <a:srcRect l="15884" t="23791" r="13083" b="24821"/>
          <a:stretch/>
        </p:blipFill>
        <p:spPr>
          <a:xfrm>
            <a:off x="7557109" y="6118645"/>
            <a:ext cx="852582" cy="46200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02E31FE-5E64-0C77-C177-FDF9FCAED62F}"/>
              </a:ext>
            </a:extLst>
          </p:cNvPr>
          <p:cNvPicPr>
            <a:picLocks noChangeAspect="1"/>
          </p:cNvPicPr>
          <p:nvPr/>
        </p:nvPicPr>
        <p:blipFill rotWithShape="1">
          <a:blip r:embed="rId35"/>
          <a:srcRect l="18117" t="25176" r="18146" b="28727"/>
          <a:stretch/>
        </p:blipFill>
        <p:spPr>
          <a:xfrm>
            <a:off x="5814515" y="6235778"/>
            <a:ext cx="743598" cy="325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89485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3">
            <a:extLst>
              <a:ext uri="{FF2B5EF4-FFF2-40B4-BE49-F238E27FC236}">
                <a16:creationId xmlns:a16="http://schemas.microsoft.com/office/drawing/2014/main" id="{B78FD69E-A913-AB72-7388-F9C0CDB98791}"/>
              </a:ext>
            </a:extLst>
          </p:cNvPr>
          <p:cNvSpPr txBox="1"/>
          <p:nvPr/>
        </p:nvSpPr>
        <p:spPr>
          <a:xfrm>
            <a:off x="1358899" y="2823714"/>
            <a:ext cx="7094988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4800" spc="-10" dirty="0">
                <a:solidFill>
                  <a:srgbClr val="8B0000"/>
                </a:solidFill>
                <a:latin typeface="Georgia" panose="02040502050405020303" pitchFamily="18" charset="0"/>
                <a:cs typeface="Calibri"/>
              </a:rPr>
              <a:t>Gen AI: The Current State</a:t>
            </a:r>
            <a:endParaRPr sz="4800" dirty="0">
              <a:solidFill>
                <a:srgbClr val="8B0000"/>
              </a:solidFill>
              <a:latin typeface="Georgia" panose="02040502050405020303" pitchFamily="18" charset="0"/>
              <a:cs typeface="Calibri"/>
            </a:endParaRP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4E9F585E-56D4-3165-2C7F-474DECC838ED}"/>
              </a:ext>
            </a:extLst>
          </p:cNvPr>
          <p:cNvSpPr txBox="1"/>
          <p:nvPr/>
        </p:nvSpPr>
        <p:spPr>
          <a:xfrm>
            <a:off x="1358899" y="4018801"/>
            <a:ext cx="1645557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175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S</a:t>
            </a:r>
            <a:r>
              <a:rPr sz="2400" spc="85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EC</a:t>
            </a:r>
            <a:r>
              <a:rPr sz="2400" spc="11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T</a:t>
            </a:r>
            <a:r>
              <a:rPr sz="2400" spc="25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I</a:t>
            </a:r>
            <a:r>
              <a:rPr sz="240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ON</a:t>
            </a:r>
            <a:r>
              <a:rPr sz="2400" spc="-8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 </a:t>
            </a:r>
            <a:r>
              <a:rPr lang="en-US" sz="2400" spc="-25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2</a:t>
            </a:r>
            <a:endParaRPr sz="2400" dirty="0">
              <a:solidFill>
                <a:schemeClr val="bg2">
                  <a:lumMod val="50000"/>
                </a:schemeClr>
              </a:solidFill>
              <a:latin typeface="Georgia" panose="02040502050405020303" pitchFamily="18" charset="0"/>
              <a:cs typeface="Calibri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E50727D-C2A0-6CD5-1DC9-BFB0D0E4B63C}"/>
              </a:ext>
            </a:extLst>
          </p:cNvPr>
          <p:cNvSpPr/>
          <p:nvPr/>
        </p:nvSpPr>
        <p:spPr>
          <a:xfrm>
            <a:off x="1" y="5939246"/>
            <a:ext cx="12191999" cy="217714"/>
          </a:xfrm>
          <a:prstGeom prst="rect">
            <a:avLst/>
          </a:prstGeom>
          <a:solidFill>
            <a:srgbClr val="8B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B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08235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5553217-F578-477E-984A-6ECC82C5468C}"/>
              </a:ext>
            </a:extLst>
          </p:cNvPr>
          <p:cNvSpPr/>
          <p:nvPr/>
        </p:nvSpPr>
        <p:spPr>
          <a:xfrm>
            <a:off x="1425593" y="2893744"/>
            <a:ext cx="8506738" cy="3926350"/>
          </a:xfrm>
          <a:custGeom>
            <a:avLst/>
            <a:gdLst>
              <a:gd name="connsiteX0" fmla="*/ 0 w 1175657"/>
              <a:gd name="connsiteY0" fmla="*/ 0 h 6596743"/>
              <a:gd name="connsiteX1" fmla="*/ 1175657 w 1175657"/>
              <a:gd name="connsiteY1" fmla="*/ 0 h 6596743"/>
              <a:gd name="connsiteX2" fmla="*/ 1175657 w 1175657"/>
              <a:gd name="connsiteY2" fmla="*/ 6596743 h 6596743"/>
              <a:gd name="connsiteX3" fmla="*/ 0 w 1175657"/>
              <a:gd name="connsiteY3" fmla="*/ 6596743 h 6596743"/>
              <a:gd name="connsiteX4" fmla="*/ 0 w 1175657"/>
              <a:gd name="connsiteY4" fmla="*/ 0 h 6596743"/>
              <a:gd name="connsiteX0" fmla="*/ 0 w 1175657"/>
              <a:gd name="connsiteY0" fmla="*/ 0 h 6596743"/>
              <a:gd name="connsiteX1" fmla="*/ 1175657 w 1175657"/>
              <a:gd name="connsiteY1" fmla="*/ 0 h 6596743"/>
              <a:gd name="connsiteX2" fmla="*/ 1159329 w 1175657"/>
              <a:gd name="connsiteY2" fmla="*/ 5388429 h 6596743"/>
              <a:gd name="connsiteX3" fmla="*/ 1175657 w 1175657"/>
              <a:gd name="connsiteY3" fmla="*/ 6596743 h 6596743"/>
              <a:gd name="connsiteX4" fmla="*/ 0 w 1175657"/>
              <a:gd name="connsiteY4" fmla="*/ 6596743 h 6596743"/>
              <a:gd name="connsiteX5" fmla="*/ 0 w 1175657"/>
              <a:gd name="connsiteY5" fmla="*/ 0 h 6596743"/>
              <a:gd name="connsiteX0" fmla="*/ 32657 w 1208314"/>
              <a:gd name="connsiteY0" fmla="*/ 0 h 6596743"/>
              <a:gd name="connsiteX1" fmla="*/ 1208314 w 1208314"/>
              <a:gd name="connsiteY1" fmla="*/ 0 h 6596743"/>
              <a:gd name="connsiteX2" fmla="*/ 1191986 w 1208314"/>
              <a:gd name="connsiteY2" fmla="*/ 5388429 h 6596743"/>
              <a:gd name="connsiteX3" fmla="*/ 1208314 w 1208314"/>
              <a:gd name="connsiteY3" fmla="*/ 6596743 h 6596743"/>
              <a:gd name="connsiteX4" fmla="*/ 32657 w 1208314"/>
              <a:gd name="connsiteY4" fmla="*/ 6596743 h 6596743"/>
              <a:gd name="connsiteX5" fmla="*/ 0 w 1208314"/>
              <a:gd name="connsiteY5" fmla="*/ 5404757 h 6596743"/>
              <a:gd name="connsiteX6" fmla="*/ 32657 w 1208314"/>
              <a:gd name="connsiteY6" fmla="*/ 0 h 6596743"/>
              <a:gd name="connsiteX0" fmla="*/ 32657 w 1290711"/>
              <a:gd name="connsiteY0" fmla="*/ 0 h 6596743"/>
              <a:gd name="connsiteX1" fmla="*/ 1208314 w 1290711"/>
              <a:gd name="connsiteY1" fmla="*/ 0 h 6596743"/>
              <a:gd name="connsiteX2" fmla="*/ 1191986 w 1290711"/>
              <a:gd name="connsiteY2" fmla="*/ 2922814 h 6596743"/>
              <a:gd name="connsiteX3" fmla="*/ 1191986 w 1290711"/>
              <a:gd name="connsiteY3" fmla="*/ 5388429 h 6596743"/>
              <a:gd name="connsiteX4" fmla="*/ 1208314 w 1290711"/>
              <a:gd name="connsiteY4" fmla="*/ 6596743 h 6596743"/>
              <a:gd name="connsiteX5" fmla="*/ 32657 w 1290711"/>
              <a:gd name="connsiteY5" fmla="*/ 6596743 h 6596743"/>
              <a:gd name="connsiteX6" fmla="*/ 0 w 1290711"/>
              <a:gd name="connsiteY6" fmla="*/ 5404757 h 6596743"/>
              <a:gd name="connsiteX7" fmla="*/ 32657 w 1290711"/>
              <a:gd name="connsiteY7" fmla="*/ 0 h 6596743"/>
              <a:gd name="connsiteX0" fmla="*/ 32657 w 1290711"/>
              <a:gd name="connsiteY0" fmla="*/ 0 h 6596743"/>
              <a:gd name="connsiteX1" fmla="*/ 1208314 w 1290711"/>
              <a:gd name="connsiteY1" fmla="*/ 0 h 6596743"/>
              <a:gd name="connsiteX2" fmla="*/ 1191986 w 1290711"/>
              <a:gd name="connsiteY2" fmla="*/ 2922814 h 6596743"/>
              <a:gd name="connsiteX3" fmla="*/ 1191986 w 1290711"/>
              <a:gd name="connsiteY3" fmla="*/ 5388429 h 6596743"/>
              <a:gd name="connsiteX4" fmla="*/ 1208314 w 1290711"/>
              <a:gd name="connsiteY4" fmla="*/ 6596743 h 6596743"/>
              <a:gd name="connsiteX5" fmla="*/ 32657 w 1290711"/>
              <a:gd name="connsiteY5" fmla="*/ 6596743 h 6596743"/>
              <a:gd name="connsiteX6" fmla="*/ 0 w 1290711"/>
              <a:gd name="connsiteY6" fmla="*/ 5404757 h 6596743"/>
              <a:gd name="connsiteX7" fmla="*/ 16328 w 1290711"/>
              <a:gd name="connsiteY7" fmla="*/ 2922814 h 6596743"/>
              <a:gd name="connsiteX8" fmla="*/ 32657 w 1290711"/>
              <a:gd name="connsiteY8" fmla="*/ 0 h 6596743"/>
              <a:gd name="connsiteX0" fmla="*/ 32657 w 1314515"/>
              <a:gd name="connsiteY0" fmla="*/ 0 h 6596743"/>
              <a:gd name="connsiteX1" fmla="*/ 1208314 w 1314515"/>
              <a:gd name="connsiteY1" fmla="*/ 0 h 6596743"/>
              <a:gd name="connsiteX2" fmla="*/ 1257300 w 1314515"/>
              <a:gd name="connsiteY2" fmla="*/ 1632857 h 6596743"/>
              <a:gd name="connsiteX3" fmla="*/ 1191986 w 1314515"/>
              <a:gd name="connsiteY3" fmla="*/ 2922814 h 6596743"/>
              <a:gd name="connsiteX4" fmla="*/ 1191986 w 1314515"/>
              <a:gd name="connsiteY4" fmla="*/ 5388429 h 6596743"/>
              <a:gd name="connsiteX5" fmla="*/ 1208314 w 1314515"/>
              <a:gd name="connsiteY5" fmla="*/ 6596743 h 6596743"/>
              <a:gd name="connsiteX6" fmla="*/ 32657 w 1314515"/>
              <a:gd name="connsiteY6" fmla="*/ 6596743 h 6596743"/>
              <a:gd name="connsiteX7" fmla="*/ 0 w 1314515"/>
              <a:gd name="connsiteY7" fmla="*/ 5404757 h 6596743"/>
              <a:gd name="connsiteX8" fmla="*/ 16328 w 1314515"/>
              <a:gd name="connsiteY8" fmla="*/ 2922814 h 6596743"/>
              <a:gd name="connsiteX9" fmla="*/ 32657 w 1314515"/>
              <a:gd name="connsiteY9" fmla="*/ 0 h 6596743"/>
              <a:gd name="connsiteX0" fmla="*/ 32657 w 1314515"/>
              <a:gd name="connsiteY0" fmla="*/ 0 h 6596743"/>
              <a:gd name="connsiteX1" fmla="*/ 1208314 w 1314515"/>
              <a:gd name="connsiteY1" fmla="*/ 0 h 6596743"/>
              <a:gd name="connsiteX2" fmla="*/ 1257300 w 1314515"/>
              <a:gd name="connsiteY2" fmla="*/ 1632857 h 6596743"/>
              <a:gd name="connsiteX3" fmla="*/ 1191986 w 1314515"/>
              <a:gd name="connsiteY3" fmla="*/ 2922814 h 6596743"/>
              <a:gd name="connsiteX4" fmla="*/ 1191986 w 1314515"/>
              <a:gd name="connsiteY4" fmla="*/ 5388429 h 6596743"/>
              <a:gd name="connsiteX5" fmla="*/ 1208314 w 1314515"/>
              <a:gd name="connsiteY5" fmla="*/ 6596743 h 6596743"/>
              <a:gd name="connsiteX6" fmla="*/ 32657 w 1314515"/>
              <a:gd name="connsiteY6" fmla="*/ 6596743 h 6596743"/>
              <a:gd name="connsiteX7" fmla="*/ 0 w 1314515"/>
              <a:gd name="connsiteY7" fmla="*/ 5404757 h 6596743"/>
              <a:gd name="connsiteX8" fmla="*/ 16328 w 1314515"/>
              <a:gd name="connsiteY8" fmla="*/ 2922814 h 6596743"/>
              <a:gd name="connsiteX9" fmla="*/ 0 w 1314515"/>
              <a:gd name="connsiteY9" fmla="*/ 1632857 h 6596743"/>
              <a:gd name="connsiteX10" fmla="*/ 32657 w 1314515"/>
              <a:gd name="connsiteY10" fmla="*/ 0 h 6596743"/>
              <a:gd name="connsiteX0" fmla="*/ 32657 w 1334104"/>
              <a:gd name="connsiteY0" fmla="*/ 0 h 6596743"/>
              <a:gd name="connsiteX1" fmla="*/ 1208314 w 1334104"/>
              <a:gd name="connsiteY1" fmla="*/ 0 h 6596743"/>
              <a:gd name="connsiteX2" fmla="*/ 1306286 w 1334104"/>
              <a:gd name="connsiteY2" fmla="*/ 751114 h 6596743"/>
              <a:gd name="connsiteX3" fmla="*/ 1257300 w 1334104"/>
              <a:gd name="connsiteY3" fmla="*/ 1632857 h 6596743"/>
              <a:gd name="connsiteX4" fmla="*/ 1191986 w 1334104"/>
              <a:gd name="connsiteY4" fmla="*/ 2922814 h 6596743"/>
              <a:gd name="connsiteX5" fmla="*/ 1191986 w 1334104"/>
              <a:gd name="connsiteY5" fmla="*/ 5388429 h 6596743"/>
              <a:gd name="connsiteX6" fmla="*/ 1208314 w 1334104"/>
              <a:gd name="connsiteY6" fmla="*/ 6596743 h 6596743"/>
              <a:gd name="connsiteX7" fmla="*/ 32657 w 1334104"/>
              <a:gd name="connsiteY7" fmla="*/ 6596743 h 6596743"/>
              <a:gd name="connsiteX8" fmla="*/ 0 w 1334104"/>
              <a:gd name="connsiteY8" fmla="*/ 5404757 h 6596743"/>
              <a:gd name="connsiteX9" fmla="*/ 16328 w 1334104"/>
              <a:gd name="connsiteY9" fmla="*/ 2922814 h 6596743"/>
              <a:gd name="connsiteX10" fmla="*/ 0 w 1334104"/>
              <a:gd name="connsiteY10" fmla="*/ 1632857 h 6596743"/>
              <a:gd name="connsiteX11" fmla="*/ 32657 w 1334104"/>
              <a:gd name="connsiteY11" fmla="*/ 0 h 6596743"/>
              <a:gd name="connsiteX0" fmla="*/ 32658 w 1334105"/>
              <a:gd name="connsiteY0" fmla="*/ 0 h 6596743"/>
              <a:gd name="connsiteX1" fmla="*/ 1208315 w 1334105"/>
              <a:gd name="connsiteY1" fmla="*/ 0 h 6596743"/>
              <a:gd name="connsiteX2" fmla="*/ 1306287 w 1334105"/>
              <a:gd name="connsiteY2" fmla="*/ 751114 h 6596743"/>
              <a:gd name="connsiteX3" fmla="*/ 1257301 w 1334105"/>
              <a:gd name="connsiteY3" fmla="*/ 1632857 h 6596743"/>
              <a:gd name="connsiteX4" fmla="*/ 1191987 w 1334105"/>
              <a:gd name="connsiteY4" fmla="*/ 2922814 h 6596743"/>
              <a:gd name="connsiteX5" fmla="*/ 1191987 w 1334105"/>
              <a:gd name="connsiteY5" fmla="*/ 5388429 h 6596743"/>
              <a:gd name="connsiteX6" fmla="*/ 1208315 w 1334105"/>
              <a:gd name="connsiteY6" fmla="*/ 6596743 h 6596743"/>
              <a:gd name="connsiteX7" fmla="*/ 32658 w 1334105"/>
              <a:gd name="connsiteY7" fmla="*/ 6596743 h 6596743"/>
              <a:gd name="connsiteX8" fmla="*/ 1 w 1334105"/>
              <a:gd name="connsiteY8" fmla="*/ 5404757 h 6596743"/>
              <a:gd name="connsiteX9" fmla="*/ 16329 w 1334105"/>
              <a:gd name="connsiteY9" fmla="*/ 2922814 h 6596743"/>
              <a:gd name="connsiteX10" fmla="*/ 1 w 1334105"/>
              <a:gd name="connsiteY10" fmla="*/ 1632857 h 6596743"/>
              <a:gd name="connsiteX11" fmla="*/ 0 w 1334105"/>
              <a:gd name="connsiteY11" fmla="*/ 783772 h 6596743"/>
              <a:gd name="connsiteX12" fmla="*/ 32658 w 1334105"/>
              <a:gd name="connsiteY12" fmla="*/ 0 h 6596743"/>
              <a:gd name="connsiteX0" fmla="*/ 1061357 w 2362804"/>
              <a:gd name="connsiteY0" fmla="*/ 0 h 6596743"/>
              <a:gd name="connsiteX1" fmla="*/ 2237014 w 2362804"/>
              <a:gd name="connsiteY1" fmla="*/ 0 h 6596743"/>
              <a:gd name="connsiteX2" fmla="*/ 2334986 w 2362804"/>
              <a:gd name="connsiteY2" fmla="*/ 751114 h 6596743"/>
              <a:gd name="connsiteX3" fmla="*/ 2286000 w 2362804"/>
              <a:gd name="connsiteY3" fmla="*/ 1632857 h 6596743"/>
              <a:gd name="connsiteX4" fmla="*/ 2220686 w 2362804"/>
              <a:gd name="connsiteY4" fmla="*/ 2922814 h 6596743"/>
              <a:gd name="connsiteX5" fmla="*/ 2220686 w 2362804"/>
              <a:gd name="connsiteY5" fmla="*/ 5388429 h 6596743"/>
              <a:gd name="connsiteX6" fmla="*/ 2237014 w 2362804"/>
              <a:gd name="connsiteY6" fmla="*/ 6596743 h 6596743"/>
              <a:gd name="connsiteX7" fmla="*/ 1061357 w 2362804"/>
              <a:gd name="connsiteY7" fmla="*/ 6596743 h 6596743"/>
              <a:gd name="connsiteX8" fmla="*/ 0 w 2362804"/>
              <a:gd name="connsiteY8" fmla="*/ 5208815 h 6596743"/>
              <a:gd name="connsiteX9" fmla="*/ 1045028 w 2362804"/>
              <a:gd name="connsiteY9" fmla="*/ 2922814 h 6596743"/>
              <a:gd name="connsiteX10" fmla="*/ 1028700 w 2362804"/>
              <a:gd name="connsiteY10" fmla="*/ 1632857 h 6596743"/>
              <a:gd name="connsiteX11" fmla="*/ 1028699 w 2362804"/>
              <a:gd name="connsiteY11" fmla="*/ 783772 h 6596743"/>
              <a:gd name="connsiteX12" fmla="*/ 1061357 w 2362804"/>
              <a:gd name="connsiteY12" fmla="*/ 0 h 6596743"/>
              <a:gd name="connsiteX0" fmla="*/ 1061357 w 2362804"/>
              <a:gd name="connsiteY0" fmla="*/ 0 h 6596743"/>
              <a:gd name="connsiteX1" fmla="*/ 2237014 w 2362804"/>
              <a:gd name="connsiteY1" fmla="*/ 0 h 6596743"/>
              <a:gd name="connsiteX2" fmla="*/ 2334986 w 2362804"/>
              <a:gd name="connsiteY2" fmla="*/ 751114 h 6596743"/>
              <a:gd name="connsiteX3" fmla="*/ 2286000 w 2362804"/>
              <a:gd name="connsiteY3" fmla="*/ 1632857 h 6596743"/>
              <a:gd name="connsiteX4" fmla="*/ 2220686 w 2362804"/>
              <a:gd name="connsiteY4" fmla="*/ 2922814 h 6596743"/>
              <a:gd name="connsiteX5" fmla="*/ 783772 w 2362804"/>
              <a:gd name="connsiteY5" fmla="*/ 5176158 h 6596743"/>
              <a:gd name="connsiteX6" fmla="*/ 2237014 w 2362804"/>
              <a:gd name="connsiteY6" fmla="*/ 6596743 h 6596743"/>
              <a:gd name="connsiteX7" fmla="*/ 1061357 w 2362804"/>
              <a:gd name="connsiteY7" fmla="*/ 6596743 h 6596743"/>
              <a:gd name="connsiteX8" fmla="*/ 0 w 2362804"/>
              <a:gd name="connsiteY8" fmla="*/ 5208815 h 6596743"/>
              <a:gd name="connsiteX9" fmla="*/ 1045028 w 2362804"/>
              <a:gd name="connsiteY9" fmla="*/ 2922814 h 6596743"/>
              <a:gd name="connsiteX10" fmla="*/ 1028700 w 2362804"/>
              <a:gd name="connsiteY10" fmla="*/ 1632857 h 6596743"/>
              <a:gd name="connsiteX11" fmla="*/ 1028699 w 2362804"/>
              <a:gd name="connsiteY11" fmla="*/ 783772 h 6596743"/>
              <a:gd name="connsiteX12" fmla="*/ 1061357 w 2362804"/>
              <a:gd name="connsiteY12" fmla="*/ 0 h 6596743"/>
              <a:gd name="connsiteX0" fmla="*/ 1061357 w 6645749"/>
              <a:gd name="connsiteY0" fmla="*/ 0 h 6596743"/>
              <a:gd name="connsiteX1" fmla="*/ 2237014 w 6645749"/>
              <a:gd name="connsiteY1" fmla="*/ 0 h 6596743"/>
              <a:gd name="connsiteX2" fmla="*/ 2334986 w 6645749"/>
              <a:gd name="connsiteY2" fmla="*/ 751114 h 6596743"/>
              <a:gd name="connsiteX3" fmla="*/ 2286000 w 6645749"/>
              <a:gd name="connsiteY3" fmla="*/ 1632857 h 6596743"/>
              <a:gd name="connsiteX4" fmla="*/ 6645729 w 6645749"/>
              <a:gd name="connsiteY4" fmla="*/ 2596242 h 6596743"/>
              <a:gd name="connsiteX5" fmla="*/ 783772 w 6645749"/>
              <a:gd name="connsiteY5" fmla="*/ 5176158 h 6596743"/>
              <a:gd name="connsiteX6" fmla="*/ 2237014 w 6645749"/>
              <a:gd name="connsiteY6" fmla="*/ 6596743 h 6596743"/>
              <a:gd name="connsiteX7" fmla="*/ 1061357 w 6645749"/>
              <a:gd name="connsiteY7" fmla="*/ 6596743 h 6596743"/>
              <a:gd name="connsiteX8" fmla="*/ 0 w 6645749"/>
              <a:gd name="connsiteY8" fmla="*/ 5208815 h 6596743"/>
              <a:gd name="connsiteX9" fmla="*/ 1045028 w 6645749"/>
              <a:gd name="connsiteY9" fmla="*/ 2922814 h 6596743"/>
              <a:gd name="connsiteX10" fmla="*/ 1028700 w 6645749"/>
              <a:gd name="connsiteY10" fmla="*/ 1632857 h 6596743"/>
              <a:gd name="connsiteX11" fmla="*/ 1028699 w 6645749"/>
              <a:gd name="connsiteY11" fmla="*/ 783772 h 6596743"/>
              <a:gd name="connsiteX12" fmla="*/ 1061357 w 6645749"/>
              <a:gd name="connsiteY12" fmla="*/ 0 h 6596743"/>
              <a:gd name="connsiteX0" fmla="*/ 1061357 w 6645749"/>
              <a:gd name="connsiteY0" fmla="*/ 0 h 6596743"/>
              <a:gd name="connsiteX1" fmla="*/ 2237014 w 6645749"/>
              <a:gd name="connsiteY1" fmla="*/ 0 h 6596743"/>
              <a:gd name="connsiteX2" fmla="*/ 2334986 w 6645749"/>
              <a:gd name="connsiteY2" fmla="*/ 751114 h 6596743"/>
              <a:gd name="connsiteX3" fmla="*/ 2286000 w 6645749"/>
              <a:gd name="connsiteY3" fmla="*/ 1632857 h 6596743"/>
              <a:gd name="connsiteX4" fmla="*/ 6645729 w 6645749"/>
              <a:gd name="connsiteY4" fmla="*/ 2596242 h 6596743"/>
              <a:gd name="connsiteX5" fmla="*/ 783772 w 6645749"/>
              <a:gd name="connsiteY5" fmla="*/ 5176158 h 6596743"/>
              <a:gd name="connsiteX6" fmla="*/ 2237014 w 6645749"/>
              <a:gd name="connsiteY6" fmla="*/ 6596743 h 6596743"/>
              <a:gd name="connsiteX7" fmla="*/ 1061357 w 6645749"/>
              <a:gd name="connsiteY7" fmla="*/ 6596743 h 6596743"/>
              <a:gd name="connsiteX8" fmla="*/ 0 w 6645749"/>
              <a:gd name="connsiteY8" fmla="*/ 5208815 h 6596743"/>
              <a:gd name="connsiteX9" fmla="*/ 6204856 w 6645749"/>
              <a:gd name="connsiteY9" fmla="*/ 2579914 h 6596743"/>
              <a:gd name="connsiteX10" fmla="*/ 1028700 w 6645749"/>
              <a:gd name="connsiteY10" fmla="*/ 1632857 h 6596743"/>
              <a:gd name="connsiteX11" fmla="*/ 1028699 w 6645749"/>
              <a:gd name="connsiteY11" fmla="*/ 783772 h 6596743"/>
              <a:gd name="connsiteX12" fmla="*/ 1061357 w 6645749"/>
              <a:gd name="connsiteY12" fmla="*/ 0 h 6596743"/>
              <a:gd name="connsiteX0" fmla="*/ 1061357 w 6645777"/>
              <a:gd name="connsiteY0" fmla="*/ 0 h 6596743"/>
              <a:gd name="connsiteX1" fmla="*/ 2237014 w 6645777"/>
              <a:gd name="connsiteY1" fmla="*/ 0 h 6596743"/>
              <a:gd name="connsiteX2" fmla="*/ 2334986 w 6645777"/>
              <a:gd name="connsiteY2" fmla="*/ 751114 h 6596743"/>
              <a:gd name="connsiteX3" fmla="*/ 4833257 w 6645777"/>
              <a:gd name="connsiteY3" fmla="*/ 1616528 h 6596743"/>
              <a:gd name="connsiteX4" fmla="*/ 6645729 w 6645777"/>
              <a:gd name="connsiteY4" fmla="*/ 2596242 h 6596743"/>
              <a:gd name="connsiteX5" fmla="*/ 783772 w 6645777"/>
              <a:gd name="connsiteY5" fmla="*/ 5176158 h 6596743"/>
              <a:gd name="connsiteX6" fmla="*/ 2237014 w 6645777"/>
              <a:gd name="connsiteY6" fmla="*/ 6596743 h 6596743"/>
              <a:gd name="connsiteX7" fmla="*/ 1061357 w 6645777"/>
              <a:gd name="connsiteY7" fmla="*/ 6596743 h 6596743"/>
              <a:gd name="connsiteX8" fmla="*/ 0 w 6645777"/>
              <a:gd name="connsiteY8" fmla="*/ 5208815 h 6596743"/>
              <a:gd name="connsiteX9" fmla="*/ 6204856 w 6645777"/>
              <a:gd name="connsiteY9" fmla="*/ 2579914 h 6596743"/>
              <a:gd name="connsiteX10" fmla="*/ 1028700 w 6645777"/>
              <a:gd name="connsiteY10" fmla="*/ 1632857 h 6596743"/>
              <a:gd name="connsiteX11" fmla="*/ 1028699 w 6645777"/>
              <a:gd name="connsiteY11" fmla="*/ 783772 h 6596743"/>
              <a:gd name="connsiteX12" fmla="*/ 1061357 w 6645777"/>
              <a:gd name="connsiteY12" fmla="*/ 0 h 6596743"/>
              <a:gd name="connsiteX0" fmla="*/ 1061357 w 6645777"/>
              <a:gd name="connsiteY0" fmla="*/ 0 h 6596743"/>
              <a:gd name="connsiteX1" fmla="*/ 2237014 w 6645777"/>
              <a:gd name="connsiteY1" fmla="*/ 0 h 6596743"/>
              <a:gd name="connsiteX2" fmla="*/ 2334986 w 6645777"/>
              <a:gd name="connsiteY2" fmla="*/ 751114 h 6596743"/>
              <a:gd name="connsiteX3" fmla="*/ 4833257 w 6645777"/>
              <a:gd name="connsiteY3" fmla="*/ 1616528 h 6596743"/>
              <a:gd name="connsiteX4" fmla="*/ 6645729 w 6645777"/>
              <a:gd name="connsiteY4" fmla="*/ 2596242 h 6596743"/>
              <a:gd name="connsiteX5" fmla="*/ 783772 w 6645777"/>
              <a:gd name="connsiteY5" fmla="*/ 5176158 h 6596743"/>
              <a:gd name="connsiteX6" fmla="*/ 2237014 w 6645777"/>
              <a:gd name="connsiteY6" fmla="*/ 6596743 h 6596743"/>
              <a:gd name="connsiteX7" fmla="*/ 1061357 w 6645777"/>
              <a:gd name="connsiteY7" fmla="*/ 6596743 h 6596743"/>
              <a:gd name="connsiteX8" fmla="*/ 0 w 6645777"/>
              <a:gd name="connsiteY8" fmla="*/ 5208815 h 6596743"/>
              <a:gd name="connsiteX9" fmla="*/ 6204856 w 6645777"/>
              <a:gd name="connsiteY9" fmla="*/ 2579914 h 6596743"/>
              <a:gd name="connsiteX10" fmla="*/ 4327071 w 6645777"/>
              <a:gd name="connsiteY10" fmla="*/ 1714500 h 6596743"/>
              <a:gd name="connsiteX11" fmla="*/ 1028699 w 6645777"/>
              <a:gd name="connsiteY11" fmla="*/ 783772 h 6596743"/>
              <a:gd name="connsiteX12" fmla="*/ 1061357 w 6645777"/>
              <a:gd name="connsiteY12" fmla="*/ 0 h 6596743"/>
              <a:gd name="connsiteX0" fmla="*/ 1061357 w 6743726"/>
              <a:gd name="connsiteY0" fmla="*/ 0 h 6596743"/>
              <a:gd name="connsiteX1" fmla="*/ 2237014 w 6743726"/>
              <a:gd name="connsiteY1" fmla="*/ 0 h 6596743"/>
              <a:gd name="connsiteX2" fmla="*/ 6743700 w 6743726"/>
              <a:gd name="connsiteY2" fmla="*/ 881743 h 6596743"/>
              <a:gd name="connsiteX3" fmla="*/ 4833257 w 6743726"/>
              <a:gd name="connsiteY3" fmla="*/ 1616528 h 6596743"/>
              <a:gd name="connsiteX4" fmla="*/ 6645729 w 6743726"/>
              <a:gd name="connsiteY4" fmla="*/ 2596242 h 6596743"/>
              <a:gd name="connsiteX5" fmla="*/ 783772 w 6743726"/>
              <a:gd name="connsiteY5" fmla="*/ 5176158 h 6596743"/>
              <a:gd name="connsiteX6" fmla="*/ 2237014 w 6743726"/>
              <a:gd name="connsiteY6" fmla="*/ 6596743 h 6596743"/>
              <a:gd name="connsiteX7" fmla="*/ 1061357 w 6743726"/>
              <a:gd name="connsiteY7" fmla="*/ 6596743 h 6596743"/>
              <a:gd name="connsiteX8" fmla="*/ 0 w 6743726"/>
              <a:gd name="connsiteY8" fmla="*/ 5208815 h 6596743"/>
              <a:gd name="connsiteX9" fmla="*/ 6204856 w 6743726"/>
              <a:gd name="connsiteY9" fmla="*/ 2579914 h 6596743"/>
              <a:gd name="connsiteX10" fmla="*/ 4327071 w 6743726"/>
              <a:gd name="connsiteY10" fmla="*/ 1714500 h 6596743"/>
              <a:gd name="connsiteX11" fmla="*/ 1028699 w 6743726"/>
              <a:gd name="connsiteY11" fmla="*/ 783772 h 6596743"/>
              <a:gd name="connsiteX12" fmla="*/ 1061357 w 6743726"/>
              <a:gd name="connsiteY12" fmla="*/ 0 h 6596743"/>
              <a:gd name="connsiteX0" fmla="*/ 1061357 w 6743726"/>
              <a:gd name="connsiteY0" fmla="*/ 0 h 6596743"/>
              <a:gd name="connsiteX1" fmla="*/ 2237014 w 6743726"/>
              <a:gd name="connsiteY1" fmla="*/ 0 h 6596743"/>
              <a:gd name="connsiteX2" fmla="*/ 6743700 w 6743726"/>
              <a:gd name="connsiteY2" fmla="*/ 881743 h 6596743"/>
              <a:gd name="connsiteX3" fmla="*/ 4833257 w 6743726"/>
              <a:gd name="connsiteY3" fmla="*/ 1616528 h 6596743"/>
              <a:gd name="connsiteX4" fmla="*/ 6645729 w 6743726"/>
              <a:gd name="connsiteY4" fmla="*/ 2596242 h 6596743"/>
              <a:gd name="connsiteX5" fmla="*/ 783772 w 6743726"/>
              <a:gd name="connsiteY5" fmla="*/ 5176158 h 6596743"/>
              <a:gd name="connsiteX6" fmla="*/ 2237014 w 6743726"/>
              <a:gd name="connsiteY6" fmla="*/ 6596743 h 6596743"/>
              <a:gd name="connsiteX7" fmla="*/ 1061357 w 6743726"/>
              <a:gd name="connsiteY7" fmla="*/ 6596743 h 6596743"/>
              <a:gd name="connsiteX8" fmla="*/ 0 w 6743726"/>
              <a:gd name="connsiteY8" fmla="*/ 5208815 h 6596743"/>
              <a:gd name="connsiteX9" fmla="*/ 6204856 w 6743726"/>
              <a:gd name="connsiteY9" fmla="*/ 2579914 h 6596743"/>
              <a:gd name="connsiteX10" fmla="*/ 4327071 w 6743726"/>
              <a:gd name="connsiteY10" fmla="*/ 1714500 h 6596743"/>
              <a:gd name="connsiteX11" fmla="*/ 6384470 w 6743726"/>
              <a:gd name="connsiteY11" fmla="*/ 832757 h 6596743"/>
              <a:gd name="connsiteX12" fmla="*/ 1061357 w 6743726"/>
              <a:gd name="connsiteY12" fmla="*/ 0 h 6596743"/>
              <a:gd name="connsiteX0" fmla="*/ 1061357 w 6743726"/>
              <a:gd name="connsiteY0" fmla="*/ 0 h 6596743"/>
              <a:gd name="connsiteX1" fmla="*/ 5421086 w 6743726"/>
              <a:gd name="connsiteY1" fmla="*/ 391885 h 6596743"/>
              <a:gd name="connsiteX2" fmla="*/ 6743700 w 6743726"/>
              <a:gd name="connsiteY2" fmla="*/ 881743 h 6596743"/>
              <a:gd name="connsiteX3" fmla="*/ 4833257 w 6743726"/>
              <a:gd name="connsiteY3" fmla="*/ 1616528 h 6596743"/>
              <a:gd name="connsiteX4" fmla="*/ 6645729 w 6743726"/>
              <a:gd name="connsiteY4" fmla="*/ 2596242 h 6596743"/>
              <a:gd name="connsiteX5" fmla="*/ 783772 w 6743726"/>
              <a:gd name="connsiteY5" fmla="*/ 5176158 h 6596743"/>
              <a:gd name="connsiteX6" fmla="*/ 2237014 w 6743726"/>
              <a:gd name="connsiteY6" fmla="*/ 6596743 h 6596743"/>
              <a:gd name="connsiteX7" fmla="*/ 1061357 w 6743726"/>
              <a:gd name="connsiteY7" fmla="*/ 6596743 h 6596743"/>
              <a:gd name="connsiteX8" fmla="*/ 0 w 6743726"/>
              <a:gd name="connsiteY8" fmla="*/ 5208815 h 6596743"/>
              <a:gd name="connsiteX9" fmla="*/ 6204856 w 6743726"/>
              <a:gd name="connsiteY9" fmla="*/ 2579914 h 6596743"/>
              <a:gd name="connsiteX10" fmla="*/ 4327071 w 6743726"/>
              <a:gd name="connsiteY10" fmla="*/ 1714500 h 6596743"/>
              <a:gd name="connsiteX11" fmla="*/ 6384470 w 6743726"/>
              <a:gd name="connsiteY11" fmla="*/ 832757 h 6596743"/>
              <a:gd name="connsiteX12" fmla="*/ 1061357 w 6743726"/>
              <a:gd name="connsiteY12" fmla="*/ 0 h 6596743"/>
              <a:gd name="connsiteX0" fmla="*/ 4343400 w 6743726"/>
              <a:gd name="connsiteY0" fmla="*/ 0 h 6221186"/>
              <a:gd name="connsiteX1" fmla="*/ 5421086 w 6743726"/>
              <a:gd name="connsiteY1" fmla="*/ 16328 h 6221186"/>
              <a:gd name="connsiteX2" fmla="*/ 6743700 w 6743726"/>
              <a:gd name="connsiteY2" fmla="*/ 506186 h 6221186"/>
              <a:gd name="connsiteX3" fmla="*/ 4833257 w 6743726"/>
              <a:gd name="connsiteY3" fmla="*/ 1240971 h 6221186"/>
              <a:gd name="connsiteX4" fmla="*/ 6645729 w 6743726"/>
              <a:gd name="connsiteY4" fmla="*/ 2220685 h 6221186"/>
              <a:gd name="connsiteX5" fmla="*/ 783772 w 6743726"/>
              <a:gd name="connsiteY5" fmla="*/ 4800601 h 6221186"/>
              <a:gd name="connsiteX6" fmla="*/ 2237014 w 6743726"/>
              <a:gd name="connsiteY6" fmla="*/ 6221186 h 6221186"/>
              <a:gd name="connsiteX7" fmla="*/ 1061357 w 6743726"/>
              <a:gd name="connsiteY7" fmla="*/ 6221186 h 6221186"/>
              <a:gd name="connsiteX8" fmla="*/ 0 w 6743726"/>
              <a:gd name="connsiteY8" fmla="*/ 4833258 h 6221186"/>
              <a:gd name="connsiteX9" fmla="*/ 6204856 w 6743726"/>
              <a:gd name="connsiteY9" fmla="*/ 2204357 h 6221186"/>
              <a:gd name="connsiteX10" fmla="*/ 4327071 w 6743726"/>
              <a:gd name="connsiteY10" fmla="*/ 1338943 h 6221186"/>
              <a:gd name="connsiteX11" fmla="*/ 6384470 w 6743726"/>
              <a:gd name="connsiteY11" fmla="*/ 457200 h 6221186"/>
              <a:gd name="connsiteX12" fmla="*/ 4343400 w 6743726"/>
              <a:gd name="connsiteY12" fmla="*/ 0 h 6221186"/>
              <a:gd name="connsiteX0" fmla="*/ 3722915 w 6743726"/>
              <a:gd name="connsiteY0" fmla="*/ 0 h 6841671"/>
              <a:gd name="connsiteX1" fmla="*/ 5421086 w 6743726"/>
              <a:gd name="connsiteY1" fmla="*/ 636813 h 6841671"/>
              <a:gd name="connsiteX2" fmla="*/ 6743700 w 6743726"/>
              <a:gd name="connsiteY2" fmla="*/ 1126671 h 6841671"/>
              <a:gd name="connsiteX3" fmla="*/ 4833257 w 6743726"/>
              <a:gd name="connsiteY3" fmla="*/ 1861456 h 6841671"/>
              <a:gd name="connsiteX4" fmla="*/ 6645729 w 6743726"/>
              <a:gd name="connsiteY4" fmla="*/ 2841170 h 6841671"/>
              <a:gd name="connsiteX5" fmla="*/ 783772 w 6743726"/>
              <a:gd name="connsiteY5" fmla="*/ 5421086 h 6841671"/>
              <a:gd name="connsiteX6" fmla="*/ 2237014 w 6743726"/>
              <a:gd name="connsiteY6" fmla="*/ 6841671 h 6841671"/>
              <a:gd name="connsiteX7" fmla="*/ 1061357 w 6743726"/>
              <a:gd name="connsiteY7" fmla="*/ 6841671 h 6841671"/>
              <a:gd name="connsiteX8" fmla="*/ 0 w 6743726"/>
              <a:gd name="connsiteY8" fmla="*/ 5453743 h 6841671"/>
              <a:gd name="connsiteX9" fmla="*/ 6204856 w 6743726"/>
              <a:gd name="connsiteY9" fmla="*/ 2824842 h 6841671"/>
              <a:gd name="connsiteX10" fmla="*/ 4327071 w 6743726"/>
              <a:gd name="connsiteY10" fmla="*/ 1959428 h 6841671"/>
              <a:gd name="connsiteX11" fmla="*/ 6384470 w 6743726"/>
              <a:gd name="connsiteY11" fmla="*/ 1077685 h 6841671"/>
              <a:gd name="connsiteX12" fmla="*/ 3722915 w 6743726"/>
              <a:gd name="connsiteY12" fmla="*/ 0 h 6841671"/>
              <a:gd name="connsiteX0" fmla="*/ 3722915 w 6743726"/>
              <a:gd name="connsiteY0" fmla="*/ 16330 h 6858001"/>
              <a:gd name="connsiteX1" fmla="*/ 4343400 w 6743726"/>
              <a:gd name="connsiteY1" fmla="*/ 0 h 6858001"/>
              <a:gd name="connsiteX2" fmla="*/ 6743700 w 6743726"/>
              <a:gd name="connsiteY2" fmla="*/ 1143001 h 6858001"/>
              <a:gd name="connsiteX3" fmla="*/ 4833257 w 6743726"/>
              <a:gd name="connsiteY3" fmla="*/ 1877786 h 6858001"/>
              <a:gd name="connsiteX4" fmla="*/ 6645729 w 6743726"/>
              <a:gd name="connsiteY4" fmla="*/ 2857500 h 6858001"/>
              <a:gd name="connsiteX5" fmla="*/ 783772 w 6743726"/>
              <a:gd name="connsiteY5" fmla="*/ 5437416 h 6858001"/>
              <a:gd name="connsiteX6" fmla="*/ 2237014 w 6743726"/>
              <a:gd name="connsiteY6" fmla="*/ 6858001 h 6858001"/>
              <a:gd name="connsiteX7" fmla="*/ 1061357 w 6743726"/>
              <a:gd name="connsiteY7" fmla="*/ 6858001 h 6858001"/>
              <a:gd name="connsiteX8" fmla="*/ 0 w 6743726"/>
              <a:gd name="connsiteY8" fmla="*/ 5470073 h 6858001"/>
              <a:gd name="connsiteX9" fmla="*/ 6204856 w 6743726"/>
              <a:gd name="connsiteY9" fmla="*/ 2841172 h 6858001"/>
              <a:gd name="connsiteX10" fmla="*/ 4327071 w 6743726"/>
              <a:gd name="connsiteY10" fmla="*/ 1975758 h 6858001"/>
              <a:gd name="connsiteX11" fmla="*/ 6384470 w 6743726"/>
              <a:gd name="connsiteY11" fmla="*/ 1094015 h 6858001"/>
              <a:gd name="connsiteX12" fmla="*/ 3722915 w 6743726"/>
              <a:gd name="connsiteY12" fmla="*/ 16330 h 6858001"/>
              <a:gd name="connsiteX0" fmla="*/ 4229101 w 6743726"/>
              <a:gd name="connsiteY0" fmla="*/ 16330 h 6858001"/>
              <a:gd name="connsiteX1" fmla="*/ 4343400 w 6743726"/>
              <a:gd name="connsiteY1" fmla="*/ 0 h 6858001"/>
              <a:gd name="connsiteX2" fmla="*/ 6743700 w 6743726"/>
              <a:gd name="connsiteY2" fmla="*/ 1143001 h 6858001"/>
              <a:gd name="connsiteX3" fmla="*/ 4833257 w 6743726"/>
              <a:gd name="connsiteY3" fmla="*/ 1877786 h 6858001"/>
              <a:gd name="connsiteX4" fmla="*/ 6645729 w 6743726"/>
              <a:gd name="connsiteY4" fmla="*/ 2857500 h 6858001"/>
              <a:gd name="connsiteX5" fmla="*/ 783772 w 6743726"/>
              <a:gd name="connsiteY5" fmla="*/ 5437416 h 6858001"/>
              <a:gd name="connsiteX6" fmla="*/ 2237014 w 6743726"/>
              <a:gd name="connsiteY6" fmla="*/ 6858001 h 6858001"/>
              <a:gd name="connsiteX7" fmla="*/ 1061357 w 6743726"/>
              <a:gd name="connsiteY7" fmla="*/ 6858001 h 6858001"/>
              <a:gd name="connsiteX8" fmla="*/ 0 w 6743726"/>
              <a:gd name="connsiteY8" fmla="*/ 5470073 h 6858001"/>
              <a:gd name="connsiteX9" fmla="*/ 6204856 w 6743726"/>
              <a:gd name="connsiteY9" fmla="*/ 2841172 h 6858001"/>
              <a:gd name="connsiteX10" fmla="*/ 4327071 w 6743726"/>
              <a:gd name="connsiteY10" fmla="*/ 1975758 h 6858001"/>
              <a:gd name="connsiteX11" fmla="*/ 6384470 w 6743726"/>
              <a:gd name="connsiteY11" fmla="*/ 1094015 h 6858001"/>
              <a:gd name="connsiteX12" fmla="*/ 4229101 w 6743726"/>
              <a:gd name="connsiteY12" fmla="*/ 16330 h 6858001"/>
              <a:gd name="connsiteX0" fmla="*/ 4229101 w 6743726"/>
              <a:gd name="connsiteY0" fmla="*/ 0 h 6858340"/>
              <a:gd name="connsiteX1" fmla="*/ 4343400 w 6743726"/>
              <a:gd name="connsiteY1" fmla="*/ 339 h 6858340"/>
              <a:gd name="connsiteX2" fmla="*/ 6743700 w 6743726"/>
              <a:gd name="connsiteY2" fmla="*/ 1143340 h 6858340"/>
              <a:gd name="connsiteX3" fmla="*/ 4833257 w 6743726"/>
              <a:gd name="connsiteY3" fmla="*/ 1878125 h 6858340"/>
              <a:gd name="connsiteX4" fmla="*/ 6645729 w 6743726"/>
              <a:gd name="connsiteY4" fmla="*/ 2857839 h 6858340"/>
              <a:gd name="connsiteX5" fmla="*/ 783772 w 6743726"/>
              <a:gd name="connsiteY5" fmla="*/ 5437755 h 6858340"/>
              <a:gd name="connsiteX6" fmla="*/ 2237014 w 6743726"/>
              <a:gd name="connsiteY6" fmla="*/ 6858340 h 6858340"/>
              <a:gd name="connsiteX7" fmla="*/ 1061357 w 6743726"/>
              <a:gd name="connsiteY7" fmla="*/ 6858340 h 6858340"/>
              <a:gd name="connsiteX8" fmla="*/ 0 w 6743726"/>
              <a:gd name="connsiteY8" fmla="*/ 5470412 h 6858340"/>
              <a:gd name="connsiteX9" fmla="*/ 6204856 w 6743726"/>
              <a:gd name="connsiteY9" fmla="*/ 2841511 h 6858340"/>
              <a:gd name="connsiteX10" fmla="*/ 4327071 w 6743726"/>
              <a:gd name="connsiteY10" fmla="*/ 1976097 h 6858340"/>
              <a:gd name="connsiteX11" fmla="*/ 6384470 w 6743726"/>
              <a:gd name="connsiteY11" fmla="*/ 1094354 h 6858340"/>
              <a:gd name="connsiteX12" fmla="*/ 4229101 w 6743726"/>
              <a:gd name="connsiteY12" fmla="*/ 0 h 6858340"/>
              <a:gd name="connsiteX0" fmla="*/ 4229101 w 6743726"/>
              <a:gd name="connsiteY0" fmla="*/ 2043 h 6860383"/>
              <a:gd name="connsiteX1" fmla="*/ 4345781 w 6743726"/>
              <a:gd name="connsiteY1" fmla="*/ 0 h 6860383"/>
              <a:gd name="connsiteX2" fmla="*/ 6743700 w 6743726"/>
              <a:gd name="connsiteY2" fmla="*/ 1145383 h 6860383"/>
              <a:gd name="connsiteX3" fmla="*/ 4833257 w 6743726"/>
              <a:gd name="connsiteY3" fmla="*/ 1880168 h 6860383"/>
              <a:gd name="connsiteX4" fmla="*/ 6645729 w 6743726"/>
              <a:gd name="connsiteY4" fmla="*/ 2859882 h 6860383"/>
              <a:gd name="connsiteX5" fmla="*/ 783772 w 6743726"/>
              <a:gd name="connsiteY5" fmla="*/ 5439798 h 6860383"/>
              <a:gd name="connsiteX6" fmla="*/ 2237014 w 6743726"/>
              <a:gd name="connsiteY6" fmla="*/ 6860383 h 6860383"/>
              <a:gd name="connsiteX7" fmla="*/ 1061357 w 6743726"/>
              <a:gd name="connsiteY7" fmla="*/ 6860383 h 6860383"/>
              <a:gd name="connsiteX8" fmla="*/ 0 w 6743726"/>
              <a:gd name="connsiteY8" fmla="*/ 5472455 h 6860383"/>
              <a:gd name="connsiteX9" fmla="*/ 6204856 w 6743726"/>
              <a:gd name="connsiteY9" fmla="*/ 2843554 h 6860383"/>
              <a:gd name="connsiteX10" fmla="*/ 4327071 w 6743726"/>
              <a:gd name="connsiteY10" fmla="*/ 1978140 h 6860383"/>
              <a:gd name="connsiteX11" fmla="*/ 6384470 w 6743726"/>
              <a:gd name="connsiteY11" fmla="*/ 1096397 h 6860383"/>
              <a:gd name="connsiteX12" fmla="*/ 4229101 w 6743726"/>
              <a:gd name="connsiteY12" fmla="*/ 2043 h 6860383"/>
              <a:gd name="connsiteX0" fmla="*/ 4229101 w 6743726"/>
              <a:gd name="connsiteY0" fmla="*/ 0 h 6858340"/>
              <a:gd name="connsiteX1" fmla="*/ 4348162 w 6743726"/>
              <a:gd name="connsiteY1" fmla="*/ 339 h 6858340"/>
              <a:gd name="connsiteX2" fmla="*/ 6743700 w 6743726"/>
              <a:gd name="connsiteY2" fmla="*/ 1143340 h 6858340"/>
              <a:gd name="connsiteX3" fmla="*/ 4833257 w 6743726"/>
              <a:gd name="connsiteY3" fmla="*/ 1878125 h 6858340"/>
              <a:gd name="connsiteX4" fmla="*/ 6645729 w 6743726"/>
              <a:gd name="connsiteY4" fmla="*/ 2857839 h 6858340"/>
              <a:gd name="connsiteX5" fmla="*/ 783772 w 6743726"/>
              <a:gd name="connsiteY5" fmla="*/ 5437755 h 6858340"/>
              <a:gd name="connsiteX6" fmla="*/ 2237014 w 6743726"/>
              <a:gd name="connsiteY6" fmla="*/ 6858340 h 6858340"/>
              <a:gd name="connsiteX7" fmla="*/ 1061357 w 6743726"/>
              <a:gd name="connsiteY7" fmla="*/ 6858340 h 6858340"/>
              <a:gd name="connsiteX8" fmla="*/ 0 w 6743726"/>
              <a:gd name="connsiteY8" fmla="*/ 5470412 h 6858340"/>
              <a:gd name="connsiteX9" fmla="*/ 6204856 w 6743726"/>
              <a:gd name="connsiteY9" fmla="*/ 2841511 h 6858340"/>
              <a:gd name="connsiteX10" fmla="*/ 4327071 w 6743726"/>
              <a:gd name="connsiteY10" fmla="*/ 1976097 h 6858340"/>
              <a:gd name="connsiteX11" fmla="*/ 6384470 w 6743726"/>
              <a:gd name="connsiteY11" fmla="*/ 1094354 h 6858340"/>
              <a:gd name="connsiteX12" fmla="*/ 4229101 w 6743726"/>
              <a:gd name="connsiteY12" fmla="*/ 0 h 6858340"/>
              <a:gd name="connsiteX0" fmla="*/ 4229101 w 6743726"/>
              <a:gd name="connsiteY0" fmla="*/ 0 h 6858340"/>
              <a:gd name="connsiteX1" fmla="*/ 4348162 w 6743726"/>
              <a:gd name="connsiteY1" fmla="*/ 339 h 6858340"/>
              <a:gd name="connsiteX2" fmla="*/ 6743700 w 6743726"/>
              <a:gd name="connsiteY2" fmla="*/ 1143340 h 6858340"/>
              <a:gd name="connsiteX3" fmla="*/ 4833257 w 6743726"/>
              <a:gd name="connsiteY3" fmla="*/ 1878125 h 6858340"/>
              <a:gd name="connsiteX4" fmla="*/ 6645729 w 6743726"/>
              <a:gd name="connsiteY4" fmla="*/ 2857839 h 6858340"/>
              <a:gd name="connsiteX5" fmla="*/ 783772 w 6743726"/>
              <a:gd name="connsiteY5" fmla="*/ 5437755 h 6858340"/>
              <a:gd name="connsiteX6" fmla="*/ 2237014 w 6743726"/>
              <a:gd name="connsiteY6" fmla="*/ 6858340 h 6858340"/>
              <a:gd name="connsiteX7" fmla="*/ 1061357 w 6743726"/>
              <a:gd name="connsiteY7" fmla="*/ 6858340 h 6858340"/>
              <a:gd name="connsiteX8" fmla="*/ 0 w 6743726"/>
              <a:gd name="connsiteY8" fmla="*/ 5470412 h 6858340"/>
              <a:gd name="connsiteX9" fmla="*/ 6204856 w 6743726"/>
              <a:gd name="connsiteY9" fmla="*/ 2841511 h 6858340"/>
              <a:gd name="connsiteX10" fmla="*/ 4327071 w 6743726"/>
              <a:gd name="connsiteY10" fmla="*/ 1976097 h 6858340"/>
              <a:gd name="connsiteX11" fmla="*/ 6384470 w 6743726"/>
              <a:gd name="connsiteY11" fmla="*/ 1094354 h 6858340"/>
              <a:gd name="connsiteX12" fmla="*/ 4229101 w 6743726"/>
              <a:gd name="connsiteY12" fmla="*/ 0 h 6858340"/>
              <a:gd name="connsiteX0" fmla="*/ 4081502 w 6596127"/>
              <a:gd name="connsiteY0" fmla="*/ 0 h 6858340"/>
              <a:gd name="connsiteX1" fmla="*/ 4200563 w 6596127"/>
              <a:gd name="connsiteY1" fmla="*/ 339 h 6858340"/>
              <a:gd name="connsiteX2" fmla="*/ 6596101 w 6596127"/>
              <a:gd name="connsiteY2" fmla="*/ 1143340 h 6858340"/>
              <a:gd name="connsiteX3" fmla="*/ 4685658 w 6596127"/>
              <a:gd name="connsiteY3" fmla="*/ 1878125 h 6858340"/>
              <a:gd name="connsiteX4" fmla="*/ 6498130 w 6596127"/>
              <a:gd name="connsiteY4" fmla="*/ 2857839 h 6858340"/>
              <a:gd name="connsiteX5" fmla="*/ 636173 w 6596127"/>
              <a:gd name="connsiteY5" fmla="*/ 5437755 h 6858340"/>
              <a:gd name="connsiteX6" fmla="*/ 2089415 w 6596127"/>
              <a:gd name="connsiteY6" fmla="*/ 6858340 h 6858340"/>
              <a:gd name="connsiteX7" fmla="*/ 913758 w 6596127"/>
              <a:gd name="connsiteY7" fmla="*/ 6858340 h 6858340"/>
              <a:gd name="connsiteX8" fmla="*/ 0 w 6596127"/>
              <a:gd name="connsiteY8" fmla="*/ 5708951 h 6858340"/>
              <a:gd name="connsiteX9" fmla="*/ 6057257 w 6596127"/>
              <a:gd name="connsiteY9" fmla="*/ 2841511 h 6858340"/>
              <a:gd name="connsiteX10" fmla="*/ 4179472 w 6596127"/>
              <a:gd name="connsiteY10" fmla="*/ 1976097 h 6858340"/>
              <a:gd name="connsiteX11" fmla="*/ 6236871 w 6596127"/>
              <a:gd name="connsiteY11" fmla="*/ 1094354 h 6858340"/>
              <a:gd name="connsiteX12" fmla="*/ 4081502 w 6596127"/>
              <a:gd name="connsiteY12" fmla="*/ 0 h 6858340"/>
              <a:gd name="connsiteX0" fmla="*/ 4081502 w 6596127"/>
              <a:gd name="connsiteY0" fmla="*/ 0 h 6858340"/>
              <a:gd name="connsiteX1" fmla="*/ 4200563 w 6596127"/>
              <a:gd name="connsiteY1" fmla="*/ 339 h 6858340"/>
              <a:gd name="connsiteX2" fmla="*/ 6596101 w 6596127"/>
              <a:gd name="connsiteY2" fmla="*/ 1143340 h 6858340"/>
              <a:gd name="connsiteX3" fmla="*/ 4685658 w 6596127"/>
              <a:gd name="connsiteY3" fmla="*/ 1878125 h 6858340"/>
              <a:gd name="connsiteX4" fmla="*/ 6498130 w 6596127"/>
              <a:gd name="connsiteY4" fmla="*/ 2857839 h 6858340"/>
              <a:gd name="connsiteX5" fmla="*/ 636173 w 6596127"/>
              <a:gd name="connsiteY5" fmla="*/ 5437755 h 6858340"/>
              <a:gd name="connsiteX6" fmla="*/ 2089415 w 6596127"/>
              <a:gd name="connsiteY6" fmla="*/ 6858340 h 6858340"/>
              <a:gd name="connsiteX7" fmla="*/ 913758 w 6596127"/>
              <a:gd name="connsiteY7" fmla="*/ 6858340 h 6858340"/>
              <a:gd name="connsiteX8" fmla="*/ 0 w 6596127"/>
              <a:gd name="connsiteY8" fmla="*/ 5708951 h 6858340"/>
              <a:gd name="connsiteX9" fmla="*/ 6057257 w 6596127"/>
              <a:gd name="connsiteY9" fmla="*/ 2841511 h 6858340"/>
              <a:gd name="connsiteX10" fmla="*/ 4179472 w 6596127"/>
              <a:gd name="connsiteY10" fmla="*/ 1976097 h 6858340"/>
              <a:gd name="connsiteX11" fmla="*/ 6236871 w 6596127"/>
              <a:gd name="connsiteY11" fmla="*/ 1094354 h 6858340"/>
              <a:gd name="connsiteX12" fmla="*/ 4081502 w 6596127"/>
              <a:gd name="connsiteY12" fmla="*/ 0 h 6858340"/>
              <a:gd name="connsiteX0" fmla="*/ 4081502 w 6596127"/>
              <a:gd name="connsiteY0" fmla="*/ 0 h 6858340"/>
              <a:gd name="connsiteX1" fmla="*/ 4200563 w 6596127"/>
              <a:gd name="connsiteY1" fmla="*/ 339 h 6858340"/>
              <a:gd name="connsiteX2" fmla="*/ 6596101 w 6596127"/>
              <a:gd name="connsiteY2" fmla="*/ 1143340 h 6858340"/>
              <a:gd name="connsiteX3" fmla="*/ 4685658 w 6596127"/>
              <a:gd name="connsiteY3" fmla="*/ 1878125 h 6858340"/>
              <a:gd name="connsiteX4" fmla="*/ 6498130 w 6596127"/>
              <a:gd name="connsiteY4" fmla="*/ 2857839 h 6858340"/>
              <a:gd name="connsiteX5" fmla="*/ 636173 w 6596127"/>
              <a:gd name="connsiteY5" fmla="*/ 5437755 h 6858340"/>
              <a:gd name="connsiteX6" fmla="*/ 2089415 w 6596127"/>
              <a:gd name="connsiteY6" fmla="*/ 6858340 h 6858340"/>
              <a:gd name="connsiteX7" fmla="*/ 913758 w 6596127"/>
              <a:gd name="connsiteY7" fmla="*/ 6858340 h 6858340"/>
              <a:gd name="connsiteX8" fmla="*/ 0 w 6596127"/>
              <a:gd name="connsiteY8" fmla="*/ 5708951 h 6858340"/>
              <a:gd name="connsiteX9" fmla="*/ 6057257 w 6596127"/>
              <a:gd name="connsiteY9" fmla="*/ 2841511 h 6858340"/>
              <a:gd name="connsiteX10" fmla="*/ 4179472 w 6596127"/>
              <a:gd name="connsiteY10" fmla="*/ 1976097 h 6858340"/>
              <a:gd name="connsiteX11" fmla="*/ 6236871 w 6596127"/>
              <a:gd name="connsiteY11" fmla="*/ 1094354 h 6858340"/>
              <a:gd name="connsiteX12" fmla="*/ 4081502 w 6596127"/>
              <a:gd name="connsiteY12" fmla="*/ 0 h 6858340"/>
              <a:gd name="connsiteX0" fmla="*/ 4081502 w 6596127"/>
              <a:gd name="connsiteY0" fmla="*/ 0 h 6858340"/>
              <a:gd name="connsiteX1" fmla="*/ 4200563 w 6596127"/>
              <a:gd name="connsiteY1" fmla="*/ 339 h 6858340"/>
              <a:gd name="connsiteX2" fmla="*/ 6596101 w 6596127"/>
              <a:gd name="connsiteY2" fmla="*/ 1143340 h 6858340"/>
              <a:gd name="connsiteX3" fmla="*/ 4685658 w 6596127"/>
              <a:gd name="connsiteY3" fmla="*/ 1878125 h 6858340"/>
              <a:gd name="connsiteX4" fmla="*/ 6498130 w 6596127"/>
              <a:gd name="connsiteY4" fmla="*/ 2857839 h 6858340"/>
              <a:gd name="connsiteX5" fmla="*/ 636173 w 6596127"/>
              <a:gd name="connsiteY5" fmla="*/ 5437755 h 6858340"/>
              <a:gd name="connsiteX6" fmla="*/ 2089415 w 6596127"/>
              <a:gd name="connsiteY6" fmla="*/ 6858340 h 6858340"/>
              <a:gd name="connsiteX7" fmla="*/ 913758 w 6596127"/>
              <a:gd name="connsiteY7" fmla="*/ 6858340 h 6858340"/>
              <a:gd name="connsiteX8" fmla="*/ 0 w 6596127"/>
              <a:gd name="connsiteY8" fmla="*/ 5708951 h 6858340"/>
              <a:gd name="connsiteX9" fmla="*/ 6057257 w 6596127"/>
              <a:gd name="connsiteY9" fmla="*/ 2841511 h 6858340"/>
              <a:gd name="connsiteX10" fmla="*/ 4179472 w 6596127"/>
              <a:gd name="connsiteY10" fmla="*/ 1976097 h 6858340"/>
              <a:gd name="connsiteX11" fmla="*/ 6236871 w 6596127"/>
              <a:gd name="connsiteY11" fmla="*/ 1094354 h 6858340"/>
              <a:gd name="connsiteX12" fmla="*/ 4081502 w 6596127"/>
              <a:gd name="connsiteY12" fmla="*/ 0 h 6858340"/>
              <a:gd name="connsiteX0" fmla="*/ 4081502 w 6596127"/>
              <a:gd name="connsiteY0" fmla="*/ 0 h 6858340"/>
              <a:gd name="connsiteX1" fmla="*/ 4200563 w 6596127"/>
              <a:gd name="connsiteY1" fmla="*/ 339 h 6858340"/>
              <a:gd name="connsiteX2" fmla="*/ 6596101 w 6596127"/>
              <a:gd name="connsiteY2" fmla="*/ 1143340 h 6858340"/>
              <a:gd name="connsiteX3" fmla="*/ 4685658 w 6596127"/>
              <a:gd name="connsiteY3" fmla="*/ 1878125 h 6858340"/>
              <a:gd name="connsiteX4" fmla="*/ 6498130 w 6596127"/>
              <a:gd name="connsiteY4" fmla="*/ 2857839 h 6858340"/>
              <a:gd name="connsiteX5" fmla="*/ 636173 w 6596127"/>
              <a:gd name="connsiteY5" fmla="*/ 5437755 h 6858340"/>
              <a:gd name="connsiteX6" fmla="*/ 2089415 w 6596127"/>
              <a:gd name="connsiteY6" fmla="*/ 6858340 h 6858340"/>
              <a:gd name="connsiteX7" fmla="*/ 913758 w 6596127"/>
              <a:gd name="connsiteY7" fmla="*/ 6858340 h 6858340"/>
              <a:gd name="connsiteX8" fmla="*/ 0 w 6596127"/>
              <a:gd name="connsiteY8" fmla="*/ 5708951 h 6858340"/>
              <a:gd name="connsiteX9" fmla="*/ 6057257 w 6596127"/>
              <a:gd name="connsiteY9" fmla="*/ 2841511 h 6858340"/>
              <a:gd name="connsiteX10" fmla="*/ 4179472 w 6596127"/>
              <a:gd name="connsiteY10" fmla="*/ 1976097 h 6858340"/>
              <a:gd name="connsiteX11" fmla="*/ 6236871 w 6596127"/>
              <a:gd name="connsiteY11" fmla="*/ 1094354 h 6858340"/>
              <a:gd name="connsiteX12" fmla="*/ 4081502 w 6596127"/>
              <a:gd name="connsiteY12" fmla="*/ 0 h 6858340"/>
              <a:gd name="connsiteX0" fmla="*/ 4081502 w 6596127"/>
              <a:gd name="connsiteY0" fmla="*/ 0 h 6858340"/>
              <a:gd name="connsiteX1" fmla="*/ 4200563 w 6596127"/>
              <a:gd name="connsiteY1" fmla="*/ 339 h 6858340"/>
              <a:gd name="connsiteX2" fmla="*/ 6596101 w 6596127"/>
              <a:gd name="connsiteY2" fmla="*/ 1143340 h 6858340"/>
              <a:gd name="connsiteX3" fmla="*/ 4685658 w 6596127"/>
              <a:gd name="connsiteY3" fmla="*/ 1878125 h 6858340"/>
              <a:gd name="connsiteX4" fmla="*/ 6498130 w 6596127"/>
              <a:gd name="connsiteY4" fmla="*/ 2857839 h 6858340"/>
              <a:gd name="connsiteX5" fmla="*/ 636173 w 6596127"/>
              <a:gd name="connsiteY5" fmla="*/ 5437755 h 6858340"/>
              <a:gd name="connsiteX6" fmla="*/ 2089415 w 6596127"/>
              <a:gd name="connsiteY6" fmla="*/ 6858340 h 6858340"/>
              <a:gd name="connsiteX7" fmla="*/ 913758 w 6596127"/>
              <a:gd name="connsiteY7" fmla="*/ 6858340 h 6858340"/>
              <a:gd name="connsiteX8" fmla="*/ 0 w 6596127"/>
              <a:gd name="connsiteY8" fmla="*/ 5708951 h 6858340"/>
              <a:gd name="connsiteX9" fmla="*/ 6057257 w 6596127"/>
              <a:gd name="connsiteY9" fmla="*/ 2841511 h 6858340"/>
              <a:gd name="connsiteX10" fmla="*/ 4179472 w 6596127"/>
              <a:gd name="connsiteY10" fmla="*/ 1976097 h 6858340"/>
              <a:gd name="connsiteX11" fmla="*/ 6236871 w 6596127"/>
              <a:gd name="connsiteY11" fmla="*/ 1094354 h 6858340"/>
              <a:gd name="connsiteX12" fmla="*/ 4081502 w 6596127"/>
              <a:gd name="connsiteY12" fmla="*/ 0 h 6858340"/>
              <a:gd name="connsiteX0" fmla="*/ 4081502 w 6596127"/>
              <a:gd name="connsiteY0" fmla="*/ 0 h 6858340"/>
              <a:gd name="connsiteX1" fmla="*/ 4200563 w 6596127"/>
              <a:gd name="connsiteY1" fmla="*/ 339 h 6858340"/>
              <a:gd name="connsiteX2" fmla="*/ 6596101 w 6596127"/>
              <a:gd name="connsiteY2" fmla="*/ 1143340 h 6858340"/>
              <a:gd name="connsiteX3" fmla="*/ 4685658 w 6596127"/>
              <a:gd name="connsiteY3" fmla="*/ 1878125 h 6858340"/>
              <a:gd name="connsiteX4" fmla="*/ 6498130 w 6596127"/>
              <a:gd name="connsiteY4" fmla="*/ 2857839 h 6858340"/>
              <a:gd name="connsiteX5" fmla="*/ 636173 w 6596127"/>
              <a:gd name="connsiteY5" fmla="*/ 5437755 h 6858340"/>
              <a:gd name="connsiteX6" fmla="*/ 2089415 w 6596127"/>
              <a:gd name="connsiteY6" fmla="*/ 6858340 h 6858340"/>
              <a:gd name="connsiteX7" fmla="*/ 913758 w 6596127"/>
              <a:gd name="connsiteY7" fmla="*/ 6858340 h 6858340"/>
              <a:gd name="connsiteX8" fmla="*/ 0 w 6596127"/>
              <a:gd name="connsiteY8" fmla="*/ 5708951 h 6858340"/>
              <a:gd name="connsiteX9" fmla="*/ 6057257 w 6596127"/>
              <a:gd name="connsiteY9" fmla="*/ 2841511 h 6858340"/>
              <a:gd name="connsiteX10" fmla="*/ 4179472 w 6596127"/>
              <a:gd name="connsiteY10" fmla="*/ 1976097 h 6858340"/>
              <a:gd name="connsiteX11" fmla="*/ 6236871 w 6596127"/>
              <a:gd name="connsiteY11" fmla="*/ 1094354 h 6858340"/>
              <a:gd name="connsiteX12" fmla="*/ 4081502 w 6596127"/>
              <a:gd name="connsiteY12" fmla="*/ 0 h 6858340"/>
              <a:gd name="connsiteX0" fmla="*/ 4081502 w 6596127"/>
              <a:gd name="connsiteY0" fmla="*/ 0 h 6858340"/>
              <a:gd name="connsiteX1" fmla="*/ 4200563 w 6596127"/>
              <a:gd name="connsiteY1" fmla="*/ 339 h 6858340"/>
              <a:gd name="connsiteX2" fmla="*/ 6596101 w 6596127"/>
              <a:gd name="connsiteY2" fmla="*/ 1143340 h 6858340"/>
              <a:gd name="connsiteX3" fmla="*/ 4685658 w 6596127"/>
              <a:gd name="connsiteY3" fmla="*/ 1878125 h 6858340"/>
              <a:gd name="connsiteX4" fmla="*/ 6498130 w 6596127"/>
              <a:gd name="connsiteY4" fmla="*/ 2857839 h 6858340"/>
              <a:gd name="connsiteX5" fmla="*/ 636173 w 6596127"/>
              <a:gd name="connsiteY5" fmla="*/ 5437755 h 6858340"/>
              <a:gd name="connsiteX6" fmla="*/ 2089415 w 6596127"/>
              <a:gd name="connsiteY6" fmla="*/ 6858340 h 6858340"/>
              <a:gd name="connsiteX7" fmla="*/ 913758 w 6596127"/>
              <a:gd name="connsiteY7" fmla="*/ 6858340 h 6858340"/>
              <a:gd name="connsiteX8" fmla="*/ 0 w 6596127"/>
              <a:gd name="connsiteY8" fmla="*/ 5708951 h 6858340"/>
              <a:gd name="connsiteX9" fmla="*/ 6057257 w 6596127"/>
              <a:gd name="connsiteY9" fmla="*/ 2841511 h 6858340"/>
              <a:gd name="connsiteX10" fmla="*/ 4179472 w 6596127"/>
              <a:gd name="connsiteY10" fmla="*/ 1976097 h 6858340"/>
              <a:gd name="connsiteX11" fmla="*/ 6236871 w 6596127"/>
              <a:gd name="connsiteY11" fmla="*/ 1094354 h 6858340"/>
              <a:gd name="connsiteX12" fmla="*/ 4081502 w 6596127"/>
              <a:gd name="connsiteY12" fmla="*/ 0 h 6858340"/>
              <a:gd name="connsiteX0" fmla="*/ 4081502 w 6596127"/>
              <a:gd name="connsiteY0" fmla="*/ 0 h 6858340"/>
              <a:gd name="connsiteX1" fmla="*/ 4200563 w 6596127"/>
              <a:gd name="connsiteY1" fmla="*/ 339 h 6858340"/>
              <a:gd name="connsiteX2" fmla="*/ 6596101 w 6596127"/>
              <a:gd name="connsiteY2" fmla="*/ 1143340 h 6858340"/>
              <a:gd name="connsiteX3" fmla="*/ 4685658 w 6596127"/>
              <a:gd name="connsiteY3" fmla="*/ 1878125 h 6858340"/>
              <a:gd name="connsiteX4" fmla="*/ 6498130 w 6596127"/>
              <a:gd name="connsiteY4" fmla="*/ 2857839 h 6858340"/>
              <a:gd name="connsiteX5" fmla="*/ 636173 w 6596127"/>
              <a:gd name="connsiteY5" fmla="*/ 5437755 h 6858340"/>
              <a:gd name="connsiteX6" fmla="*/ 2089415 w 6596127"/>
              <a:gd name="connsiteY6" fmla="*/ 6858340 h 6858340"/>
              <a:gd name="connsiteX7" fmla="*/ 913758 w 6596127"/>
              <a:gd name="connsiteY7" fmla="*/ 6858340 h 6858340"/>
              <a:gd name="connsiteX8" fmla="*/ 0 w 6596127"/>
              <a:gd name="connsiteY8" fmla="*/ 5708951 h 6858340"/>
              <a:gd name="connsiteX9" fmla="*/ 6057257 w 6596127"/>
              <a:gd name="connsiteY9" fmla="*/ 2841511 h 6858340"/>
              <a:gd name="connsiteX10" fmla="*/ 4179472 w 6596127"/>
              <a:gd name="connsiteY10" fmla="*/ 1976097 h 6858340"/>
              <a:gd name="connsiteX11" fmla="*/ 6236871 w 6596127"/>
              <a:gd name="connsiteY11" fmla="*/ 1094354 h 6858340"/>
              <a:gd name="connsiteX12" fmla="*/ 4081502 w 6596127"/>
              <a:gd name="connsiteY12" fmla="*/ 0 h 6858340"/>
              <a:gd name="connsiteX0" fmla="*/ 4081502 w 6596127"/>
              <a:gd name="connsiteY0" fmla="*/ 0 h 6858340"/>
              <a:gd name="connsiteX1" fmla="*/ 4200563 w 6596127"/>
              <a:gd name="connsiteY1" fmla="*/ 339 h 6858340"/>
              <a:gd name="connsiteX2" fmla="*/ 6596101 w 6596127"/>
              <a:gd name="connsiteY2" fmla="*/ 1143340 h 6858340"/>
              <a:gd name="connsiteX3" fmla="*/ 4685658 w 6596127"/>
              <a:gd name="connsiteY3" fmla="*/ 1878125 h 6858340"/>
              <a:gd name="connsiteX4" fmla="*/ 6498130 w 6596127"/>
              <a:gd name="connsiteY4" fmla="*/ 2857839 h 6858340"/>
              <a:gd name="connsiteX5" fmla="*/ 636173 w 6596127"/>
              <a:gd name="connsiteY5" fmla="*/ 5437755 h 6858340"/>
              <a:gd name="connsiteX6" fmla="*/ 2089415 w 6596127"/>
              <a:gd name="connsiteY6" fmla="*/ 6858340 h 6858340"/>
              <a:gd name="connsiteX7" fmla="*/ 913758 w 6596127"/>
              <a:gd name="connsiteY7" fmla="*/ 6858340 h 6858340"/>
              <a:gd name="connsiteX8" fmla="*/ 0 w 6596127"/>
              <a:gd name="connsiteY8" fmla="*/ 5708951 h 6858340"/>
              <a:gd name="connsiteX9" fmla="*/ 6057257 w 6596127"/>
              <a:gd name="connsiteY9" fmla="*/ 2841511 h 6858340"/>
              <a:gd name="connsiteX10" fmla="*/ 4179472 w 6596127"/>
              <a:gd name="connsiteY10" fmla="*/ 1976097 h 6858340"/>
              <a:gd name="connsiteX11" fmla="*/ 6236871 w 6596127"/>
              <a:gd name="connsiteY11" fmla="*/ 1094354 h 6858340"/>
              <a:gd name="connsiteX12" fmla="*/ 4081502 w 6596127"/>
              <a:gd name="connsiteY12" fmla="*/ 0 h 6858340"/>
              <a:gd name="connsiteX0" fmla="*/ 4081502 w 6596127"/>
              <a:gd name="connsiteY0" fmla="*/ 0 h 6858340"/>
              <a:gd name="connsiteX1" fmla="*/ 4200563 w 6596127"/>
              <a:gd name="connsiteY1" fmla="*/ 339 h 6858340"/>
              <a:gd name="connsiteX2" fmla="*/ 6596101 w 6596127"/>
              <a:gd name="connsiteY2" fmla="*/ 1143340 h 6858340"/>
              <a:gd name="connsiteX3" fmla="*/ 4685658 w 6596127"/>
              <a:gd name="connsiteY3" fmla="*/ 1878125 h 6858340"/>
              <a:gd name="connsiteX4" fmla="*/ 6498130 w 6596127"/>
              <a:gd name="connsiteY4" fmla="*/ 2857839 h 6858340"/>
              <a:gd name="connsiteX5" fmla="*/ 636173 w 6596127"/>
              <a:gd name="connsiteY5" fmla="*/ 5437755 h 6858340"/>
              <a:gd name="connsiteX6" fmla="*/ 2089415 w 6596127"/>
              <a:gd name="connsiteY6" fmla="*/ 6858340 h 6858340"/>
              <a:gd name="connsiteX7" fmla="*/ 913758 w 6596127"/>
              <a:gd name="connsiteY7" fmla="*/ 6858340 h 6858340"/>
              <a:gd name="connsiteX8" fmla="*/ 0 w 6596127"/>
              <a:gd name="connsiteY8" fmla="*/ 5708951 h 6858340"/>
              <a:gd name="connsiteX9" fmla="*/ 6057257 w 6596127"/>
              <a:gd name="connsiteY9" fmla="*/ 2841511 h 6858340"/>
              <a:gd name="connsiteX10" fmla="*/ 4179472 w 6596127"/>
              <a:gd name="connsiteY10" fmla="*/ 1976097 h 6858340"/>
              <a:gd name="connsiteX11" fmla="*/ 6236871 w 6596127"/>
              <a:gd name="connsiteY11" fmla="*/ 1094354 h 6858340"/>
              <a:gd name="connsiteX12" fmla="*/ 4081502 w 6596127"/>
              <a:gd name="connsiteY12" fmla="*/ 0 h 6858340"/>
              <a:gd name="connsiteX0" fmla="*/ 4081502 w 6596127"/>
              <a:gd name="connsiteY0" fmla="*/ 0 h 6858340"/>
              <a:gd name="connsiteX1" fmla="*/ 4200563 w 6596127"/>
              <a:gd name="connsiteY1" fmla="*/ 339 h 6858340"/>
              <a:gd name="connsiteX2" fmla="*/ 6596101 w 6596127"/>
              <a:gd name="connsiteY2" fmla="*/ 1143340 h 6858340"/>
              <a:gd name="connsiteX3" fmla="*/ 4685658 w 6596127"/>
              <a:gd name="connsiteY3" fmla="*/ 1878125 h 6858340"/>
              <a:gd name="connsiteX4" fmla="*/ 6498130 w 6596127"/>
              <a:gd name="connsiteY4" fmla="*/ 2857839 h 6858340"/>
              <a:gd name="connsiteX5" fmla="*/ 636173 w 6596127"/>
              <a:gd name="connsiteY5" fmla="*/ 5437755 h 6858340"/>
              <a:gd name="connsiteX6" fmla="*/ 2089415 w 6596127"/>
              <a:gd name="connsiteY6" fmla="*/ 6858340 h 6858340"/>
              <a:gd name="connsiteX7" fmla="*/ 913758 w 6596127"/>
              <a:gd name="connsiteY7" fmla="*/ 6858340 h 6858340"/>
              <a:gd name="connsiteX8" fmla="*/ 0 w 6596127"/>
              <a:gd name="connsiteY8" fmla="*/ 5708951 h 6858340"/>
              <a:gd name="connsiteX9" fmla="*/ 6057257 w 6596127"/>
              <a:gd name="connsiteY9" fmla="*/ 2841511 h 6858340"/>
              <a:gd name="connsiteX10" fmla="*/ 4179472 w 6596127"/>
              <a:gd name="connsiteY10" fmla="*/ 1976097 h 6858340"/>
              <a:gd name="connsiteX11" fmla="*/ 6236871 w 6596127"/>
              <a:gd name="connsiteY11" fmla="*/ 1094354 h 6858340"/>
              <a:gd name="connsiteX12" fmla="*/ 4081502 w 6596127"/>
              <a:gd name="connsiteY12" fmla="*/ 0 h 6858340"/>
              <a:gd name="connsiteX0" fmla="*/ 4081502 w 6596127"/>
              <a:gd name="connsiteY0" fmla="*/ 0 h 6858340"/>
              <a:gd name="connsiteX1" fmla="*/ 4200563 w 6596127"/>
              <a:gd name="connsiteY1" fmla="*/ 339 h 6858340"/>
              <a:gd name="connsiteX2" fmla="*/ 6596101 w 6596127"/>
              <a:gd name="connsiteY2" fmla="*/ 1143340 h 6858340"/>
              <a:gd name="connsiteX3" fmla="*/ 4685658 w 6596127"/>
              <a:gd name="connsiteY3" fmla="*/ 1878125 h 6858340"/>
              <a:gd name="connsiteX4" fmla="*/ 6498130 w 6596127"/>
              <a:gd name="connsiteY4" fmla="*/ 2857839 h 6858340"/>
              <a:gd name="connsiteX5" fmla="*/ 636173 w 6596127"/>
              <a:gd name="connsiteY5" fmla="*/ 5437755 h 6858340"/>
              <a:gd name="connsiteX6" fmla="*/ 2089415 w 6596127"/>
              <a:gd name="connsiteY6" fmla="*/ 6858340 h 6858340"/>
              <a:gd name="connsiteX7" fmla="*/ 913758 w 6596127"/>
              <a:gd name="connsiteY7" fmla="*/ 6858340 h 6858340"/>
              <a:gd name="connsiteX8" fmla="*/ 0 w 6596127"/>
              <a:gd name="connsiteY8" fmla="*/ 5708951 h 6858340"/>
              <a:gd name="connsiteX9" fmla="*/ 6057257 w 6596127"/>
              <a:gd name="connsiteY9" fmla="*/ 2841511 h 6858340"/>
              <a:gd name="connsiteX10" fmla="*/ 4179472 w 6596127"/>
              <a:gd name="connsiteY10" fmla="*/ 1976097 h 6858340"/>
              <a:gd name="connsiteX11" fmla="*/ 6236871 w 6596127"/>
              <a:gd name="connsiteY11" fmla="*/ 1094354 h 6858340"/>
              <a:gd name="connsiteX12" fmla="*/ 4081502 w 6596127"/>
              <a:gd name="connsiteY12" fmla="*/ 0 h 6858340"/>
              <a:gd name="connsiteX0" fmla="*/ 4081502 w 6596127"/>
              <a:gd name="connsiteY0" fmla="*/ 0 h 6858340"/>
              <a:gd name="connsiteX1" fmla="*/ 4200563 w 6596127"/>
              <a:gd name="connsiteY1" fmla="*/ 339 h 6858340"/>
              <a:gd name="connsiteX2" fmla="*/ 6596101 w 6596127"/>
              <a:gd name="connsiteY2" fmla="*/ 1143340 h 6858340"/>
              <a:gd name="connsiteX3" fmla="*/ 4685658 w 6596127"/>
              <a:gd name="connsiteY3" fmla="*/ 1878125 h 6858340"/>
              <a:gd name="connsiteX4" fmla="*/ 6498130 w 6596127"/>
              <a:gd name="connsiteY4" fmla="*/ 2857839 h 6858340"/>
              <a:gd name="connsiteX5" fmla="*/ 636173 w 6596127"/>
              <a:gd name="connsiteY5" fmla="*/ 5437755 h 6858340"/>
              <a:gd name="connsiteX6" fmla="*/ 2089415 w 6596127"/>
              <a:gd name="connsiteY6" fmla="*/ 6858340 h 6858340"/>
              <a:gd name="connsiteX7" fmla="*/ 913758 w 6596127"/>
              <a:gd name="connsiteY7" fmla="*/ 6858340 h 6858340"/>
              <a:gd name="connsiteX8" fmla="*/ 0 w 6596127"/>
              <a:gd name="connsiteY8" fmla="*/ 5708951 h 6858340"/>
              <a:gd name="connsiteX9" fmla="*/ 6057257 w 6596127"/>
              <a:gd name="connsiteY9" fmla="*/ 2841511 h 6858340"/>
              <a:gd name="connsiteX10" fmla="*/ 4179472 w 6596127"/>
              <a:gd name="connsiteY10" fmla="*/ 1976097 h 6858340"/>
              <a:gd name="connsiteX11" fmla="*/ 6236871 w 6596127"/>
              <a:gd name="connsiteY11" fmla="*/ 1094354 h 6858340"/>
              <a:gd name="connsiteX12" fmla="*/ 4081502 w 6596127"/>
              <a:gd name="connsiteY12" fmla="*/ 0 h 6858340"/>
              <a:gd name="connsiteX0" fmla="*/ 4081502 w 6596127"/>
              <a:gd name="connsiteY0" fmla="*/ 0 h 6858340"/>
              <a:gd name="connsiteX1" fmla="*/ 4200563 w 6596127"/>
              <a:gd name="connsiteY1" fmla="*/ 339 h 6858340"/>
              <a:gd name="connsiteX2" fmla="*/ 6596101 w 6596127"/>
              <a:gd name="connsiteY2" fmla="*/ 1143340 h 6858340"/>
              <a:gd name="connsiteX3" fmla="*/ 4685658 w 6596127"/>
              <a:gd name="connsiteY3" fmla="*/ 1878125 h 6858340"/>
              <a:gd name="connsiteX4" fmla="*/ 6498130 w 6596127"/>
              <a:gd name="connsiteY4" fmla="*/ 2857839 h 6858340"/>
              <a:gd name="connsiteX5" fmla="*/ 636173 w 6596127"/>
              <a:gd name="connsiteY5" fmla="*/ 5437755 h 6858340"/>
              <a:gd name="connsiteX6" fmla="*/ 2089415 w 6596127"/>
              <a:gd name="connsiteY6" fmla="*/ 6858340 h 6858340"/>
              <a:gd name="connsiteX7" fmla="*/ 913758 w 6596127"/>
              <a:gd name="connsiteY7" fmla="*/ 6858340 h 6858340"/>
              <a:gd name="connsiteX8" fmla="*/ 0 w 6596127"/>
              <a:gd name="connsiteY8" fmla="*/ 5708951 h 6858340"/>
              <a:gd name="connsiteX9" fmla="*/ 6057257 w 6596127"/>
              <a:gd name="connsiteY9" fmla="*/ 2841511 h 6858340"/>
              <a:gd name="connsiteX10" fmla="*/ 4179472 w 6596127"/>
              <a:gd name="connsiteY10" fmla="*/ 1976097 h 6858340"/>
              <a:gd name="connsiteX11" fmla="*/ 6236871 w 6596127"/>
              <a:gd name="connsiteY11" fmla="*/ 1094354 h 6858340"/>
              <a:gd name="connsiteX12" fmla="*/ 4081502 w 6596127"/>
              <a:gd name="connsiteY12" fmla="*/ 0 h 6858340"/>
              <a:gd name="connsiteX0" fmla="*/ 4081502 w 6596127"/>
              <a:gd name="connsiteY0" fmla="*/ 0 h 6858340"/>
              <a:gd name="connsiteX1" fmla="*/ 4200563 w 6596127"/>
              <a:gd name="connsiteY1" fmla="*/ 339 h 6858340"/>
              <a:gd name="connsiteX2" fmla="*/ 6596101 w 6596127"/>
              <a:gd name="connsiteY2" fmla="*/ 1143340 h 6858340"/>
              <a:gd name="connsiteX3" fmla="*/ 4685658 w 6596127"/>
              <a:gd name="connsiteY3" fmla="*/ 1878125 h 6858340"/>
              <a:gd name="connsiteX4" fmla="*/ 6498130 w 6596127"/>
              <a:gd name="connsiteY4" fmla="*/ 2857839 h 6858340"/>
              <a:gd name="connsiteX5" fmla="*/ 636173 w 6596127"/>
              <a:gd name="connsiteY5" fmla="*/ 5437755 h 6858340"/>
              <a:gd name="connsiteX6" fmla="*/ 2089415 w 6596127"/>
              <a:gd name="connsiteY6" fmla="*/ 6858340 h 6858340"/>
              <a:gd name="connsiteX7" fmla="*/ 913758 w 6596127"/>
              <a:gd name="connsiteY7" fmla="*/ 6858340 h 6858340"/>
              <a:gd name="connsiteX8" fmla="*/ 0 w 6596127"/>
              <a:gd name="connsiteY8" fmla="*/ 5708951 h 6858340"/>
              <a:gd name="connsiteX9" fmla="*/ 6057257 w 6596127"/>
              <a:gd name="connsiteY9" fmla="*/ 2841511 h 6858340"/>
              <a:gd name="connsiteX10" fmla="*/ 4179472 w 6596127"/>
              <a:gd name="connsiteY10" fmla="*/ 1976097 h 6858340"/>
              <a:gd name="connsiteX11" fmla="*/ 6236871 w 6596127"/>
              <a:gd name="connsiteY11" fmla="*/ 1094354 h 6858340"/>
              <a:gd name="connsiteX12" fmla="*/ 4081502 w 6596127"/>
              <a:gd name="connsiteY12" fmla="*/ 0 h 6858340"/>
              <a:gd name="connsiteX0" fmla="*/ 4081502 w 6596127"/>
              <a:gd name="connsiteY0" fmla="*/ 0 h 6858340"/>
              <a:gd name="connsiteX1" fmla="*/ 4200563 w 6596127"/>
              <a:gd name="connsiteY1" fmla="*/ 339 h 6858340"/>
              <a:gd name="connsiteX2" fmla="*/ 6596101 w 6596127"/>
              <a:gd name="connsiteY2" fmla="*/ 1143340 h 6858340"/>
              <a:gd name="connsiteX3" fmla="*/ 4685658 w 6596127"/>
              <a:gd name="connsiteY3" fmla="*/ 1878125 h 6858340"/>
              <a:gd name="connsiteX4" fmla="*/ 6498130 w 6596127"/>
              <a:gd name="connsiteY4" fmla="*/ 2857839 h 6858340"/>
              <a:gd name="connsiteX5" fmla="*/ 636173 w 6596127"/>
              <a:gd name="connsiteY5" fmla="*/ 5437755 h 6858340"/>
              <a:gd name="connsiteX6" fmla="*/ 2089415 w 6596127"/>
              <a:gd name="connsiteY6" fmla="*/ 6858340 h 6858340"/>
              <a:gd name="connsiteX7" fmla="*/ 913758 w 6596127"/>
              <a:gd name="connsiteY7" fmla="*/ 6858340 h 6858340"/>
              <a:gd name="connsiteX8" fmla="*/ 0 w 6596127"/>
              <a:gd name="connsiteY8" fmla="*/ 5708951 h 6858340"/>
              <a:gd name="connsiteX9" fmla="*/ 6057257 w 6596127"/>
              <a:gd name="connsiteY9" fmla="*/ 2841511 h 6858340"/>
              <a:gd name="connsiteX10" fmla="*/ 4179472 w 6596127"/>
              <a:gd name="connsiteY10" fmla="*/ 1976097 h 6858340"/>
              <a:gd name="connsiteX11" fmla="*/ 6236871 w 6596127"/>
              <a:gd name="connsiteY11" fmla="*/ 1094354 h 6858340"/>
              <a:gd name="connsiteX12" fmla="*/ 4081502 w 6596127"/>
              <a:gd name="connsiteY12" fmla="*/ 0 h 6858340"/>
              <a:gd name="connsiteX0" fmla="*/ 4110792 w 6625417"/>
              <a:gd name="connsiteY0" fmla="*/ 0 h 6858340"/>
              <a:gd name="connsiteX1" fmla="*/ 4229853 w 6625417"/>
              <a:gd name="connsiteY1" fmla="*/ 339 h 6858340"/>
              <a:gd name="connsiteX2" fmla="*/ 6625391 w 6625417"/>
              <a:gd name="connsiteY2" fmla="*/ 1143340 h 6858340"/>
              <a:gd name="connsiteX3" fmla="*/ 4714948 w 6625417"/>
              <a:gd name="connsiteY3" fmla="*/ 1878125 h 6858340"/>
              <a:gd name="connsiteX4" fmla="*/ 6527420 w 6625417"/>
              <a:gd name="connsiteY4" fmla="*/ 2857839 h 6858340"/>
              <a:gd name="connsiteX5" fmla="*/ 665463 w 6625417"/>
              <a:gd name="connsiteY5" fmla="*/ 5437755 h 6858340"/>
              <a:gd name="connsiteX6" fmla="*/ 2118705 w 6625417"/>
              <a:gd name="connsiteY6" fmla="*/ 6858340 h 6858340"/>
              <a:gd name="connsiteX7" fmla="*/ 943048 w 6625417"/>
              <a:gd name="connsiteY7" fmla="*/ 6858340 h 6858340"/>
              <a:gd name="connsiteX8" fmla="*/ 29290 w 6625417"/>
              <a:gd name="connsiteY8" fmla="*/ 5708951 h 6858340"/>
              <a:gd name="connsiteX9" fmla="*/ 6086547 w 6625417"/>
              <a:gd name="connsiteY9" fmla="*/ 2841511 h 6858340"/>
              <a:gd name="connsiteX10" fmla="*/ 4208762 w 6625417"/>
              <a:gd name="connsiteY10" fmla="*/ 1976097 h 6858340"/>
              <a:gd name="connsiteX11" fmla="*/ 6266161 w 6625417"/>
              <a:gd name="connsiteY11" fmla="*/ 1094354 h 6858340"/>
              <a:gd name="connsiteX12" fmla="*/ 4110792 w 6625417"/>
              <a:gd name="connsiteY12" fmla="*/ 0 h 6858340"/>
              <a:gd name="connsiteX0" fmla="*/ 4110792 w 6625417"/>
              <a:gd name="connsiteY0" fmla="*/ 0 h 6858340"/>
              <a:gd name="connsiteX1" fmla="*/ 4229853 w 6625417"/>
              <a:gd name="connsiteY1" fmla="*/ 339 h 6858340"/>
              <a:gd name="connsiteX2" fmla="*/ 6625391 w 6625417"/>
              <a:gd name="connsiteY2" fmla="*/ 1143340 h 6858340"/>
              <a:gd name="connsiteX3" fmla="*/ 4714948 w 6625417"/>
              <a:gd name="connsiteY3" fmla="*/ 1878125 h 6858340"/>
              <a:gd name="connsiteX4" fmla="*/ 6527420 w 6625417"/>
              <a:gd name="connsiteY4" fmla="*/ 2857839 h 6858340"/>
              <a:gd name="connsiteX5" fmla="*/ 665463 w 6625417"/>
              <a:gd name="connsiteY5" fmla="*/ 5437755 h 6858340"/>
              <a:gd name="connsiteX6" fmla="*/ 2118705 w 6625417"/>
              <a:gd name="connsiteY6" fmla="*/ 6858340 h 6858340"/>
              <a:gd name="connsiteX7" fmla="*/ 943048 w 6625417"/>
              <a:gd name="connsiteY7" fmla="*/ 6858340 h 6858340"/>
              <a:gd name="connsiteX8" fmla="*/ 29290 w 6625417"/>
              <a:gd name="connsiteY8" fmla="*/ 5708951 h 6858340"/>
              <a:gd name="connsiteX9" fmla="*/ 6086547 w 6625417"/>
              <a:gd name="connsiteY9" fmla="*/ 2841511 h 6858340"/>
              <a:gd name="connsiteX10" fmla="*/ 4208762 w 6625417"/>
              <a:gd name="connsiteY10" fmla="*/ 1976097 h 6858340"/>
              <a:gd name="connsiteX11" fmla="*/ 6266161 w 6625417"/>
              <a:gd name="connsiteY11" fmla="*/ 1094354 h 6858340"/>
              <a:gd name="connsiteX12" fmla="*/ 4110792 w 6625417"/>
              <a:gd name="connsiteY12" fmla="*/ 0 h 6858340"/>
              <a:gd name="connsiteX0" fmla="*/ 4110792 w 6625417"/>
              <a:gd name="connsiteY0" fmla="*/ 0 h 6858340"/>
              <a:gd name="connsiteX1" fmla="*/ 4229853 w 6625417"/>
              <a:gd name="connsiteY1" fmla="*/ 339 h 6858340"/>
              <a:gd name="connsiteX2" fmla="*/ 6625391 w 6625417"/>
              <a:gd name="connsiteY2" fmla="*/ 1143340 h 6858340"/>
              <a:gd name="connsiteX3" fmla="*/ 4714948 w 6625417"/>
              <a:gd name="connsiteY3" fmla="*/ 1878125 h 6858340"/>
              <a:gd name="connsiteX4" fmla="*/ 6527420 w 6625417"/>
              <a:gd name="connsiteY4" fmla="*/ 2857839 h 6858340"/>
              <a:gd name="connsiteX5" fmla="*/ 665463 w 6625417"/>
              <a:gd name="connsiteY5" fmla="*/ 5437755 h 6858340"/>
              <a:gd name="connsiteX6" fmla="*/ 2118705 w 6625417"/>
              <a:gd name="connsiteY6" fmla="*/ 6858340 h 6858340"/>
              <a:gd name="connsiteX7" fmla="*/ 943048 w 6625417"/>
              <a:gd name="connsiteY7" fmla="*/ 6858340 h 6858340"/>
              <a:gd name="connsiteX8" fmla="*/ 29290 w 6625417"/>
              <a:gd name="connsiteY8" fmla="*/ 5708951 h 6858340"/>
              <a:gd name="connsiteX9" fmla="*/ 6086547 w 6625417"/>
              <a:gd name="connsiteY9" fmla="*/ 2841511 h 6858340"/>
              <a:gd name="connsiteX10" fmla="*/ 4208762 w 6625417"/>
              <a:gd name="connsiteY10" fmla="*/ 1976097 h 6858340"/>
              <a:gd name="connsiteX11" fmla="*/ 6266161 w 6625417"/>
              <a:gd name="connsiteY11" fmla="*/ 1094354 h 6858340"/>
              <a:gd name="connsiteX12" fmla="*/ 4110792 w 6625417"/>
              <a:gd name="connsiteY12" fmla="*/ 0 h 6858340"/>
              <a:gd name="connsiteX0" fmla="*/ 4110792 w 6625417"/>
              <a:gd name="connsiteY0" fmla="*/ 0 h 6858340"/>
              <a:gd name="connsiteX1" fmla="*/ 4229853 w 6625417"/>
              <a:gd name="connsiteY1" fmla="*/ 339 h 6858340"/>
              <a:gd name="connsiteX2" fmla="*/ 6625391 w 6625417"/>
              <a:gd name="connsiteY2" fmla="*/ 1143340 h 6858340"/>
              <a:gd name="connsiteX3" fmla="*/ 4714948 w 6625417"/>
              <a:gd name="connsiteY3" fmla="*/ 1878125 h 6858340"/>
              <a:gd name="connsiteX4" fmla="*/ 6527420 w 6625417"/>
              <a:gd name="connsiteY4" fmla="*/ 2857839 h 6858340"/>
              <a:gd name="connsiteX5" fmla="*/ 651318 w 6625417"/>
              <a:gd name="connsiteY5" fmla="*/ 5523480 h 6858340"/>
              <a:gd name="connsiteX6" fmla="*/ 2118705 w 6625417"/>
              <a:gd name="connsiteY6" fmla="*/ 6858340 h 6858340"/>
              <a:gd name="connsiteX7" fmla="*/ 943048 w 6625417"/>
              <a:gd name="connsiteY7" fmla="*/ 6858340 h 6858340"/>
              <a:gd name="connsiteX8" fmla="*/ 29290 w 6625417"/>
              <a:gd name="connsiteY8" fmla="*/ 5708951 h 6858340"/>
              <a:gd name="connsiteX9" fmla="*/ 6086547 w 6625417"/>
              <a:gd name="connsiteY9" fmla="*/ 2841511 h 6858340"/>
              <a:gd name="connsiteX10" fmla="*/ 4208762 w 6625417"/>
              <a:gd name="connsiteY10" fmla="*/ 1976097 h 6858340"/>
              <a:gd name="connsiteX11" fmla="*/ 6266161 w 6625417"/>
              <a:gd name="connsiteY11" fmla="*/ 1094354 h 6858340"/>
              <a:gd name="connsiteX12" fmla="*/ 4110792 w 6625417"/>
              <a:gd name="connsiteY12" fmla="*/ 0 h 6858340"/>
              <a:gd name="connsiteX0" fmla="*/ 4110792 w 6625417"/>
              <a:gd name="connsiteY0" fmla="*/ 0 h 6858340"/>
              <a:gd name="connsiteX1" fmla="*/ 4229853 w 6625417"/>
              <a:gd name="connsiteY1" fmla="*/ 339 h 6858340"/>
              <a:gd name="connsiteX2" fmla="*/ 6625391 w 6625417"/>
              <a:gd name="connsiteY2" fmla="*/ 1143340 h 6858340"/>
              <a:gd name="connsiteX3" fmla="*/ 4714948 w 6625417"/>
              <a:gd name="connsiteY3" fmla="*/ 1878125 h 6858340"/>
              <a:gd name="connsiteX4" fmla="*/ 6527420 w 6625417"/>
              <a:gd name="connsiteY4" fmla="*/ 2857839 h 6858340"/>
              <a:gd name="connsiteX5" fmla="*/ 651318 w 6625417"/>
              <a:gd name="connsiteY5" fmla="*/ 5523480 h 6858340"/>
              <a:gd name="connsiteX6" fmla="*/ 2118705 w 6625417"/>
              <a:gd name="connsiteY6" fmla="*/ 6858340 h 6858340"/>
              <a:gd name="connsiteX7" fmla="*/ 943048 w 6625417"/>
              <a:gd name="connsiteY7" fmla="*/ 6858340 h 6858340"/>
              <a:gd name="connsiteX8" fmla="*/ 29290 w 6625417"/>
              <a:gd name="connsiteY8" fmla="*/ 5708951 h 6858340"/>
              <a:gd name="connsiteX9" fmla="*/ 6086547 w 6625417"/>
              <a:gd name="connsiteY9" fmla="*/ 2841511 h 6858340"/>
              <a:gd name="connsiteX10" fmla="*/ 4208762 w 6625417"/>
              <a:gd name="connsiteY10" fmla="*/ 1976097 h 6858340"/>
              <a:gd name="connsiteX11" fmla="*/ 6266161 w 6625417"/>
              <a:gd name="connsiteY11" fmla="*/ 1094354 h 6858340"/>
              <a:gd name="connsiteX12" fmla="*/ 4110792 w 6625417"/>
              <a:gd name="connsiteY12" fmla="*/ 0 h 6858340"/>
              <a:gd name="connsiteX0" fmla="*/ 4110792 w 6625417"/>
              <a:gd name="connsiteY0" fmla="*/ 0 h 6858340"/>
              <a:gd name="connsiteX1" fmla="*/ 4229853 w 6625417"/>
              <a:gd name="connsiteY1" fmla="*/ 339 h 6858340"/>
              <a:gd name="connsiteX2" fmla="*/ 6625391 w 6625417"/>
              <a:gd name="connsiteY2" fmla="*/ 1143340 h 6858340"/>
              <a:gd name="connsiteX3" fmla="*/ 4714948 w 6625417"/>
              <a:gd name="connsiteY3" fmla="*/ 1878125 h 6858340"/>
              <a:gd name="connsiteX4" fmla="*/ 6527420 w 6625417"/>
              <a:gd name="connsiteY4" fmla="*/ 2857839 h 6858340"/>
              <a:gd name="connsiteX5" fmla="*/ 651318 w 6625417"/>
              <a:gd name="connsiteY5" fmla="*/ 5523480 h 6858340"/>
              <a:gd name="connsiteX6" fmla="*/ 2118705 w 6625417"/>
              <a:gd name="connsiteY6" fmla="*/ 6858340 h 6858340"/>
              <a:gd name="connsiteX7" fmla="*/ 943048 w 6625417"/>
              <a:gd name="connsiteY7" fmla="*/ 6858340 h 6858340"/>
              <a:gd name="connsiteX8" fmla="*/ 29290 w 6625417"/>
              <a:gd name="connsiteY8" fmla="*/ 5708951 h 6858340"/>
              <a:gd name="connsiteX9" fmla="*/ 6086547 w 6625417"/>
              <a:gd name="connsiteY9" fmla="*/ 2841511 h 6858340"/>
              <a:gd name="connsiteX10" fmla="*/ 4208762 w 6625417"/>
              <a:gd name="connsiteY10" fmla="*/ 1976097 h 6858340"/>
              <a:gd name="connsiteX11" fmla="*/ 6266161 w 6625417"/>
              <a:gd name="connsiteY11" fmla="*/ 1094354 h 6858340"/>
              <a:gd name="connsiteX12" fmla="*/ 4110792 w 6625417"/>
              <a:gd name="connsiteY12" fmla="*/ 0 h 6858340"/>
              <a:gd name="connsiteX0" fmla="*/ 4110792 w 6625417"/>
              <a:gd name="connsiteY0" fmla="*/ 0 h 6858340"/>
              <a:gd name="connsiteX1" fmla="*/ 4229853 w 6625417"/>
              <a:gd name="connsiteY1" fmla="*/ 339 h 6858340"/>
              <a:gd name="connsiteX2" fmla="*/ 6625391 w 6625417"/>
              <a:gd name="connsiteY2" fmla="*/ 1143340 h 6858340"/>
              <a:gd name="connsiteX3" fmla="*/ 4714948 w 6625417"/>
              <a:gd name="connsiteY3" fmla="*/ 1878125 h 6858340"/>
              <a:gd name="connsiteX4" fmla="*/ 6527420 w 6625417"/>
              <a:gd name="connsiteY4" fmla="*/ 2857839 h 6858340"/>
              <a:gd name="connsiteX5" fmla="*/ 651318 w 6625417"/>
              <a:gd name="connsiteY5" fmla="*/ 5523480 h 6858340"/>
              <a:gd name="connsiteX6" fmla="*/ 2118705 w 6625417"/>
              <a:gd name="connsiteY6" fmla="*/ 6858340 h 6858340"/>
              <a:gd name="connsiteX7" fmla="*/ 943048 w 6625417"/>
              <a:gd name="connsiteY7" fmla="*/ 6858340 h 6858340"/>
              <a:gd name="connsiteX8" fmla="*/ 29290 w 6625417"/>
              <a:gd name="connsiteY8" fmla="*/ 5708951 h 6858340"/>
              <a:gd name="connsiteX9" fmla="*/ 6086547 w 6625417"/>
              <a:gd name="connsiteY9" fmla="*/ 2841511 h 6858340"/>
              <a:gd name="connsiteX10" fmla="*/ 4208762 w 6625417"/>
              <a:gd name="connsiteY10" fmla="*/ 1976097 h 6858340"/>
              <a:gd name="connsiteX11" fmla="*/ 6266161 w 6625417"/>
              <a:gd name="connsiteY11" fmla="*/ 1094354 h 6858340"/>
              <a:gd name="connsiteX12" fmla="*/ 4110792 w 6625417"/>
              <a:gd name="connsiteY12" fmla="*/ 0 h 6858340"/>
              <a:gd name="connsiteX0" fmla="*/ 4111651 w 6626276"/>
              <a:gd name="connsiteY0" fmla="*/ 0 h 6858340"/>
              <a:gd name="connsiteX1" fmla="*/ 4230712 w 6626276"/>
              <a:gd name="connsiteY1" fmla="*/ 339 h 6858340"/>
              <a:gd name="connsiteX2" fmla="*/ 6626250 w 6626276"/>
              <a:gd name="connsiteY2" fmla="*/ 1143340 h 6858340"/>
              <a:gd name="connsiteX3" fmla="*/ 4715807 w 6626276"/>
              <a:gd name="connsiteY3" fmla="*/ 1878125 h 6858340"/>
              <a:gd name="connsiteX4" fmla="*/ 6528279 w 6626276"/>
              <a:gd name="connsiteY4" fmla="*/ 2857839 h 6858340"/>
              <a:gd name="connsiteX5" fmla="*/ 652177 w 6626276"/>
              <a:gd name="connsiteY5" fmla="*/ 5523480 h 6858340"/>
              <a:gd name="connsiteX6" fmla="*/ 2119564 w 6626276"/>
              <a:gd name="connsiteY6" fmla="*/ 6858340 h 6858340"/>
              <a:gd name="connsiteX7" fmla="*/ 943907 w 6626276"/>
              <a:gd name="connsiteY7" fmla="*/ 6858340 h 6858340"/>
              <a:gd name="connsiteX8" fmla="*/ 30149 w 6626276"/>
              <a:gd name="connsiteY8" fmla="*/ 5708951 h 6858340"/>
              <a:gd name="connsiteX9" fmla="*/ 6087406 w 6626276"/>
              <a:gd name="connsiteY9" fmla="*/ 2841511 h 6858340"/>
              <a:gd name="connsiteX10" fmla="*/ 4209621 w 6626276"/>
              <a:gd name="connsiteY10" fmla="*/ 1976097 h 6858340"/>
              <a:gd name="connsiteX11" fmla="*/ 6267020 w 6626276"/>
              <a:gd name="connsiteY11" fmla="*/ 1094354 h 6858340"/>
              <a:gd name="connsiteX12" fmla="*/ 4111651 w 6626276"/>
              <a:gd name="connsiteY12" fmla="*/ 0 h 6858340"/>
              <a:gd name="connsiteX0" fmla="*/ 4101800 w 6616425"/>
              <a:gd name="connsiteY0" fmla="*/ 0 h 6858340"/>
              <a:gd name="connsiteX1" fmla="*/ 4220861 w 6616425"/>
              <a:gd name="connsiteY1" fmla="*/ 339 h 6858340"/>
              <a:gd name="connsiteX2" fmla="*/ 6616399 w 6616425"/>
              <a:gd name="connsiteY2" fmla="*/ 1143340 h 6858340"/>
              <a:gd name="connsiteX3" fmla="*/ 4705956 w 6616425"/>
              <a:gd name="connsiteY3" fmla="*/ 1878125 h 6858340"/>
              <a:gd name="connsiteX4" fmla="*/ 6518428 w 6616425"/>
              <a:gd name="connsiteY4" fmla="*/ 2857839 h 6858340"/>
              <a:gd name="connsiteX5" fmla="*/ 642326 w 6616425"/>
              <a:gd name="connsiteY5" fmla="*/ 5523480 h 6858340"/>
              <a:gd name="connsiteX6" fmla="*/ 2109713 w 6616425"/>
              <a:gd name="connsiteY6" fmla="*/ 6858340 h 6858340"/>
              <a:gd name="connsiteX7" fmla="*/ 934056 w 6616425"/>
              <a:gd name="connsiteY7" fmla="*/ 6858340 h 6858340"/>
              <a:gd name="connsiteX8" fmla="*/ 20298 w 6616425"/>
              <a:gd name="connsiteY8" fmla="*/ 5708951 h 6858340"/>
              <a:gd name="connsiteX9" fmla="*/ 6077555 w 6616425"/>
              <a:gd name="connsiteY9" fmla="*/ 2841511 h 6858340"/>
              <a:gd name="connsiteX10" fmla="*/ 4199770 w 6616425"/>
              <a:gd name="connsiteY10" fmla="*/ 1976097 h 6858340"/>
              <a:gd name="connsiteX11" fmla="*/ 6257169 w 6616425"/>
              <a:gd name="connsiteY11" fmla="*/ 1094354 h 6858340"/>
              <a:gd name="connsiteX12" fmla="*/ 4101800 w 6616425"/>
              <a:gd name="connsiteY12" fmla="*/ 0 h 6858340"/>
              <a:gd name="connsiteX0" fmla="*/ 4139855 w 6654480"/>
              <a:gd name="connsiteY0" fmla="*/ 0 h 6858340"/>
              <a:gd name="connsiteX1" fmla="*/ 4258916 w 6654480"/>
              <a:gd name="connsiteY1" fmla="*/ 339 h 6858340"/>
              <a:gd name="connsiteX2" fmla="*/ 6654454 w 6654480"/>
              <a:gd name="connsiteY2" fmla="*/ 1143340 h 6858340"/>
              <a:gd name="connsiteX3" fmla="*/ 4744011 w 6654480"/>
              <a:gd name="connsiteY3" fmla="*/ 1878125 h 6858340"/>
              <a:gd name="connsiteX4" fmla="*/ 6556483 w 6654480"/>
              <a:gd name="connsiteY4" fmla="*/ 2857839 h 6858340"/>
              <a:gd name="connsiteX5" fmla="*/ 680381 w 6654480"/>
              <a:gd name="connsiteY5" fmla="*/ 5523480 h 6858340"/>
              <a:gd name="connsiteX6" fmla="*/ 2147768 w 6654480"/>
              <a:gd name="connsiteY6" fmla="*/ 6858340 h 6858340"/>
              <a:gd name="connsiteX7" fmla="*/ 972111 w 6654480"/>
              <a:gd name="connsiteY7" fmla="*/ 6858340 h 6858340"/>
              <a:gd name="connsiteX8" fmla="*/ 58353 w 6654480"/>
              <a:gd name="connsiteY8" fmla="*/ 5708951 h 6858340"/>
              <a:gd name="connsiteX9" fmla="*/ 6115610 w 6654480"/>
              <a:gd name="connsiteY9" fmla="*/ 2841511 h 6858340"/>
              <a:gd name="connsiteX10" fmla="*/ 4237825 w 6654480"/>
              <a:gd name="connsiteY10" fmla="*/ 1976097 h 6858340"/>
              <a:gd name="connsiteX11" fmla="*/ 6295224 w 6654480"/>
              <a:gd name="connsiteY11" fmla="*/ 1094354 h 6858340"/>
              <a:gd name="connsiteX12" fmla="*/ 4139855 w 6654480"/>
              <a:gd name="connsiteY12" fmla="*/ 0 h 6858340"/>
              <a:gd name="connsiteX0" fmla="*/ 4144570 w 6659195"/>
              <a:gd name="connsiteY0" fmla="*/ 0 h 6858340"/>
              <a:gd name="connsiteX1" fmla="*/ 4263631 w 6659195"/>
              <a:gd name="connsiteY1" fmla="*/ 339 h 6858340"/>
              <a:gd name="connsiteX2" fmla="*/ 6659169 w 6659195"/>
              <a:gd name="connsiteY2" fmla="*/ 1143340 h 6858340"/>
              <a:gd name="connsiteX3" fmla="*/ 4748726 w 6659195"/>
              <a:gd name="connsiteY3" fmla="*/ 1878125 h 6858340"/>
              <a:gd name="connsiteX4" fmla="*/ 6561198 w 6659195"/>
              <a:gd name="connsiteY4" fmla="*/ 2857839 h 6858340"/>
              <a:gd name="connsiteX5" fmla="*/ 685096 w 6659195"/>
              <a:gd name="connsiteY5" fmla="*/ 5523480 h 6858340"/>
              <a:gd name="connsiteX6" fmla="*/ 2152483 w 6659195"/>
              <a:gd name="connsiteY6" fmla="*/ 6858340 h 6858340"/>
              <a:gd name="connsiteX7" fmla="*/ 976826 w 6659195"/>
              <a:gd name="connsiteY7" fmla="*/ 6858340 h 6858340"/>
              <a:gd name="connsiteX8" fmla="*/ 63068 w 6659195"/>
              <a:gd name="connsiteY8" fmla="*/ 5708951 h 6858340"/>
              <a:gd name="connsiteX9" fmla="*/ 6120325 w 6659195"/>
              <a:gd name="connsiteY9" fmla="*/ 2841511 h 6858340"/>
              <a:gd name="connsiteX10" fmla="*/ 4242540 w 6659195"/>
              <a:gd name="connsiteY10" fmla="*/ 1976097 h 6858340"/>
              <a:gd name="connsiteX11" fmla="*/ 6299939 w 6659195"/>
              <a:gd name="connsiteY11" fmla="*/ 1094354 h 6858340"/>
              <a:gd name="connsiteX12" fmla="*/ 4144570 w 6659195"/>
              <a:gd name="connsiteY12" fmla="*/ 0 h 6858340"/>
              <a:gd name="connsiteX0" fmla="*/ 4144570 w 6659195"/>
              <a:gd name="connsiteY0" fmla="*/ 0 h 6858340"/>
              <a:gd name="connsiteX1" fmla="*/ 4263631 w 6659195"/>
              <a:gd name="connsiteY1" fmla="*/ 339 h 6858340"/>
              <a:gd name="connsiteX2" fmla="*/ 6659169 w 6659195"/>
              <a:gd name="connsiteY2" fmla="*/ 1143340 h 6858340"/>
              <a:gd name="connsiteX3" fmla="*/ 4748726 w 6659195"/>
              <a:gd name="connsiteY3" fmla="*/ 1878125 h 6858340"/>
              <a:gd name="connsiteX4" fmla="*/ 6561198 w 6659195"/>
              <a:gd name="connsiteY4" fmla="*/ 2857839 h 6858340"/>
              <a:gd name="connsiteX5" fmla="*/ 685096 w 6659195"/>
              <a:gd name="connsiteY5" fmla="*/ 5523480 h 6858340"/>
              <a:gd name="connsiteX6" fmla="*/ 2152483 w 6659195"/>
              <a:gd name="connsiteY6" fmla="*/ 6858340 h 6858340"/>
              <a:gd name="connsiteX7" fmla="*/ 976826 w 6659195"/>
              <a:gd name="connsiteY7" fmla="*/ 6858340 h 6858340"/>
              <a:gd name="connsiteX8" fmla="*/ 63068 w 6659195"/>
              <a:gd name="connsiteY8" fmla="*/ 5708951 h 6858340"/>
              <a:gd name="connsiteX9" fmla="*/ 6120325 w 6659195"/>
              <a:gd name="connsiteY9" fmla="*/ 2841511 h 6858340"/>
              <a:gd name="connsiteX10" fmla="*/ 4242540 w 6659195"/>
              <a:gd name="connsiteY10" fmla="*/ 1976097 h 6858340"/>
              <a:gd name="connsiteX11" fmla="*/ 6299939 w 6659195"/>
              <a:gd name="connsiteY11" fmla="*/ 1094354 h 6858340"/>
              <a:gd name="connsiteX12" fmla="*/ 4144570 w 6659195"/>
              <a:gd name="connsiteY12" fmla="*/ 0 h 6858340"/>
              <a:gd name="connsiteX0" fmla="*/ 4144570 w 6659195"/>
              <a:gd name="connsiteY0" fmla="*/ 0 h 6858340"/>
              <a:gd name="connsiteX1" fmla="*/ 4263631 w 6659195"/>
              <a:gd name="connsiteY1" fmla="*/ 339 h 6858340"/>
              <a:gd name="connsiteX2" fmla="*/ 6659169 w 6659195"/>
              <a:gd name="connsiteY2" fmla="*/ 1143340 h 6858340"/>
              <a:gd name="connsiteX3" fmla="*/ 4748726 w 6659195"/>
              <a:gd name="connsiteY3" fmla="*/ 1878125 h 6858340"/>
              <a:gd name="connsiteX4" fmla="*/ 6561198 w 6659195"/>
              <a:gd name="connsiteY4" fmla="*/ 2857839 h 6858340"/>
              <a:gd name="connsiteX5" fmla="*/ 685096 w 6659195"/>
              <a:gd name="connsiteY5" fmla="*/ 5523480 h 6858340"/>
              <a:gd name="connsiteX6" fmla="*/ 2152483 w 6659195"/>
              <a:gd name="connsiteY6" fmla="*/ 6858340 h 6858340"/>
              <a:gd name="connsiteX7" fmla="*/ 976826 w 6659195"/>
              <a:gd name="connsiteY7" fmla="*/ 6858340 h 6858340"/>
              <a:gd name="connsiteX8" fmla="*/ 63068 w 6659195"/>
              <a:gd name="connsiteY8" fmla="*/ 5708951 h 6858340"/>
              <a:gd name="connsiteX9" fmla="*/ 6120325 w 6659195"/>
              <a:gd name="connsiteY9" fmla="*/ 2841511 h 6858340"/>
              <a:gd name="connsiteX10" fmla="*/ 4242540 w 6659195"/>
              <a:gd name="connsiteY10" fmla="*/ 1976097 h 6858340"/>
              <a:gd name="connsiteX11" fmla="*/ 6299939 w 6659195"/>
              <a:gd name="connsiteY11" fmla="*/ 1094354 h 6858340"/>
              <a:gd name="connsiteX12" fmla="*/ 4144570 w 6659195"/>
              <a:gd name="connsiteY12" fmla="*/ 0 h 6858340"/>
              <a:gd name="connsiteX0" fmla="*/ 4144570 w 6659195"/>
              <a:gd name="connsiteY0" fmla="*/ 0 h 6858340"/>
              <a:gd name="connsiteX1" fmla="*/ 4263631 w 6659195"/>
              <a:gd name="connsiteY1" fmla="*/ 339 h 6858340"/>
              <a:gd name="connsiteX2" fmla="*/ 6659169 w 6659195"/>
              <a:gd name="connsiteY2" fmla="*/ 1143340 h 6858340"/>
              <a:gd name="connsiteX3" fmla="*/ 4748726 w 6659195"/>
              <a:gd name="connsiteY3" fmla="*/ 1878125 h 6858340"/>
              <a:gd name="connsiteX4" fmla="*/ 6561198 w 6659195"/>
              <a:gd name="connsiteY4" fmla="*/ 2857839 h 6858340"/>
              <a:gd name="connsiteX5" fmla="*/ 685096 w 6659195"/>
              <a:gd name="connsiteY5" fmla="*/ 5523480 h 6858340"/>
              <a:gd name="connsiteX6" fmla="*/ 2152483 w 6659195"/>
              <a:gd name="connsiteY6" fmla="*/ 6858340 h 6858340"/>
              <a:gd name="connsiteX7" fmla="*/ 976826 w 6659195"/>
              <a:gd name="connsiteY7" fmla="*/ 6858340 h 6858340"/>
              <a:gd name="connsiteX8" fmla="*/ 63068 w 6659195"/>
              <a:gd name="connsiteY8" fmla="*/ 5708951 h 6858340"/>
              <a:gd name="connsiteX9" fmla="*/ 6120325 w 6659195"/>
              <a:gd name="connsiteY9" fmla="*/ 2841511 h 6858340"/>
              <a:gd name="connsiteX10" fmla="*/ 4242540 w 6659195"/>
              <a:gd name="connsiteY10" fmla="*/ 1976097 h 6858340"/>
              <a:gd name="connsiteX11" fmla="*/ 6299939 w 6659195"/>
              <a:gd name="connsiteY11" fmla="*/ 1094354 h 6858340"/>
              <a:gd name="connsiteX12" fmla="*/ 4144570 w 6659195"/>
              <a:gd name="connsiteY12" fmla="*/ 0 h 6858340"/>
              <a:gd name="connsiteX0" fmla="*/ 4144570 w 6659195"/>
              <a:gd name="connsiteY0" fmla="*/ 0 h 6858340"/>
              <a:gd name="connsiteX1" fmla="*/ 4263631 w 6659195"/>
              <a:gd name="connsiteY1" fmla="*/ 339 h 6858340"/>
              <a:gd name="connsiteX2" fmla="*/ 6659169 w 6659195"/>
              <a:gd name="connsiteY2" fmla="*/ 1143340 h 6858340"/>
              <a:gd name="connsiteX3" fmla="*/ 4748726 w 6659195"/>
              <a:gd name="connsiteY3" fmla="*/ 1878125 h 6858340"/>
              <a:gd name="connsiteX4" fmla="*/ 6561198 w 6659195"/>
              <a:gd name="connsiteY4" fmla="*/ 2857839 h 6858340"/>
              <a:gd name="connsiteX5" fmla="*/ 685096 w 6659195"/>
              <a:gd name="connsiteY5" fmla="*/ 5523480 h 6858340"/>
              <a:gd name="connsiteX6" fmla="*/ 2152483 w 6659195"/>
              <a:gd name="connsiteY6" fmla="*/ 6858340 h 6858340"/>
              <a:gd name="connsiteX7" fmla="*/ 976826 w 6659195"/>
              <a:gd name="connsiteY7" fmla="*/ 6858340 h 6858340"/>
              <a:gd name="connsiteX8" fmla="*/ 63068 w 6659195"/>
              <a:gd name="connsiteY8" fmla="*/ 5708951 h 6858340"/>
              <a:gd name="connsiteX9" fmla="*/ 6120325 w 6659195"/>
              <a:gd name="connsiteY9" fmla="*/ 2841511 h 6858340"/>
              <a:gd name="connsiteX10" fmla="*/ 4242540 w 6659195"/>
              <a:gd name="connsiteY10" fmla="*/ 1976097 h 6858340"/>
              <a:gd name="connsiteX11" fmla="*/ 6299939 w 6659195"/>
              <a:gd name="connsiteY11" fmla="*/ 1094354 h 6858340"/>
              <a:gd name="connsiteX12" fmla="*/ 4144570 w 6659195"/>
              <a:gd name="connsiteY12" fmla="*/ 0 h 6858340"/>
              <a:gd name="connsiteX0" fmla="*/ 4142750 w 6657375"/>
              <a:gd name="connsiteY0" fmla="*/ 0 h 6858340"/>
              <a:gd name="connsiteX1" fmla="*/ 4261811 w 6657375"/>
              <a:gd name="connsiteY1" fmla="*/ 339 h 6858340"/>
              <a:gd name="connsiteX2" fmla="*/ 6657349 w 6657375"/>
              <a:gd name="connsiteY2" fmla="*/ 1143340 h 6858340"/>
              <a:gd name="connsiteX3" fmla="*/ 4746906 w 6657375"/>
              <a:gd name="connsiteY3" fmla="*/ 1878125 h 6858340"/>
              <a:gd name="connsiteX4" fmla="*/ 6559378 w 6657375"/>
              <a:gd name="connsiteY4" fmla="*/ 2857839 h 6858340"/>
              <a:gd name="connsiteX5" fmla="*/ 683276 w 6657375"/>
              <a:gd name="connsiteY5" fmla="*/ 5523480 h 6858340"/>
              <a:gd name="connsiteX6" fmla="*/ 2150663 w 6657375"/>
              <a:gd name="connsiteY6" fmla="*/ 6858340 h 6858340"/>
              <a:gd name="connsiteX7" fmla="*/ 975006 w 6657375"/>
              <a:gd name="connsiteY7" fmla="*/ 6858340 h 6858340"/>
              <a:gd name="connsiteX8" fmla="*/ 61248 w 6657375"/>
              <a:gd name="connsiteY8" fmla="*/ 5708951 h 6858340"/>
              <a:gd name="connsiteX9" fmla="*/ 6118505 w 6657375"/>
              <a:gd name="connsiteY9" fmla="*/ 2841511 h 6858340"/>
              <a:gd name="connsiteX10" fmla="*/ 4240720 w 6657375"/>
              <a:gd name="connsiteY10" fmla="*/ 1976097 h 6858340"/>
              <a:gd name="connsiteX11" fmla="*/ 6298119 w 6657375"/>
              <a:gd name="connsiteY11" fmla="*/ 1094354 h 6858340"/>
              <a:gd name="connsiteX12" fmla="*/ 4142750 w 6657375"/>
              <a:gd name="connsiteY12" fmla="*/ 0 h 6858340"/>
              <a:gd name="connsiteX0" fmla="*/ 4142750 w 6657375"/>
              <a:gd name="connsiteY0" fmla="*/ 0 h 6858340"/>
              <a:gd name="connsiteX1" fmla="*/ 4261811 w 6657375"/>
              <a:gd name="connsiteY1" fmla="*/ 339 h 6858340"/>
              <a:gd name="connsiteX2" fmla="*/ 6657349 w 6657375"/>
              <a:gd name="connsiteY2" fmla="*/ 1143340 h 6858340"/>
              <a:gd name="connsiteX3" fmla="*/ 4746906 w 6657375"/>
              <a:gd name="connsiteY3" fmla="*/ 1878125 h 6858340"/>
              <a:gd name="connsiteX4" fmla="*/ 6559378 w 6657375"/>
              <a:gd name="connsiteY4" fmla="*/ 2857839 h 6858340"/>
              <a:gd name="connsiteX5" fmla="*/ 683276 w 6657375"/>
              <a:gd name="connsiteY5" fmla="*/ 5523480 h 6858340"/>
              <a:gd name="connsiteX6" fmla="*/ 2150663 w 6657375"/>
              <a:gd name="connsiteY6" fmla="*/ 6858340 h 6858340"/>
              <a:gd name="connsiteX7" fmla="*/ 975006 w 6657375"/>
              <a:gd name="connsiteY7" fmla="*/ 6858340 h 6858340"/>
              <a:gd name="connsiteX8" fmla="*/ 61248 w 6657375"/>
              <a:gd name="connsiteY8" fmla="*/ 5708951 h 6858340"/>
              <a:gd name="connsiteX9" fmla="*/ 6118505 w 6657375"/>
              <a:gd name="connsiteY9" fmla="*/ 2841511 h 6858340"/>
              <a:gd name="connsiteX10" fmla="*/ 4240720 w 6657375"/>
              <a:gd name="connsiteY10" fmla="*/ 1976097 h 6858340"/>
              <a:gd name="connsiteX11" fmla="*/ 6298119 w 6657375"/>
              <a:gd name="connsiteY11" fmla="*/ 1094354 h 6858340"/>
              <a:gd name="connsiteX12" fmla="*/ 4142750 w 6657375"/>
              <a:gd name="connsiteY12" fmla="*/ 0 h 6858340"/>
              <a:gd name="connsiteX0" fmla="*/ 4141903 w 6656528"/>
              <a:gd name="connsiteY0" fmla="*/ 0 h 6858340"/>
              <a:gd name="connsiteX1" fmla="*/ 4260964 w 6656528"/>
              <a:gd name="connsiteY1" fmla="*/ 339 h 6858340"/>
              <a:gd name="connsiteX2" fmla="*/ 6656502 w 6656528"/>
              <a:gd name="connsiteY2" fmla="*/ 1143340 h 6858340"/>
              <a:gd name="connsiteX3" fmla="*/ 4746059 w 6656528"/>
              <a:gd name="connsiteY3" fmla="*/ 1878125 h 6858340"/>
              <a:gd name="connsiteX4" fmla="*/ 6558531 w 6656528"/>
              <a:gd name="connsiteY4" fmla="*/ 2857839 h 6858340"/>
              <a:gd name="connsiteX5" fmla="*/ 682429 w 6656528"/>
              <a:gd name="connsiteY5" fmla="*/ 5523480 h 6858340"/>
              <a:gd name="connsiteX6" fmla="*/ 2149816 w 6656528"/>
              <a:gd name="connsiteY6" fmla="*/ 6858340 h 6858340"/>
              <a:gd name="connsiteX7" fmla="*/ 974159 w 6656528"/>
              <a:gd name="connsiteY7" fmla="*/ 6858340 h 6858340"/>
              <a:gd name="connsiteX8" fmla="*/ 60401 w 6656528"/>
              <a:gd name="connsiteY8" fmla="*/ 5708951 h 6858340"/>
              <a:gd name="connsiteX9" fmla="*/ 6217505 w 6656528"/>
              <a:gd name="connsiteY9" fmla="*/ 2801170 h 6858340"/>
              <a:gd name="connsiteX10" fmla="*/ 4239873 w 6656528"/>
              <a:gd name="connsiteY10" fmla="*/ 1976097 h 6858340"/>
              <a:gd name="connsiteX11" fmla="*/ 6297272 w 6656528"/>
              <a:gd name="connsiteY11" fmla="*/ 1094354 h 6858340"/>
              <a:gd name="connsiteX12" fmla="*/ 4141903 w 6656528"/>
              <a:gd name="connsiteY12" fmla="*/ 0 h 6858340"/>
              <a:gd name="connsiteX0" fmla="*/ 4141903 w 6656528"/>
              <a:gd name="connsiteY0" fmla="*/ 0 h 6858340"/>
              <a:gd name="connsiteX1" fmla="*/ 4260964 w 6656528"/>
              <a:gd name="connsiteY1" fmla="*/ 339 h 6858340"/>
              <a:gd name="connsiteX2" fmla="*/ 6656502 w 6656528"/>
              <a:gd name="connsiteY2" fmla="*/ 1143340 h 6858340"/>
              <a:gd name="connsiteX3" fmla="*/ 4746059 w 6656528"/>
              <a:gd name="connsiteY3" fmla="*/ 1878125 h 6858340"/>
              <a:gd name="connsiteX4" fmla="*/ 6558531 w 6656528"/>
              <a:gd name="connsiteY4" fmla="*/ 2857839 h 6858340"/>
              <a:gd name="connsiteX5" fmla="*/ 682429 w 6656528"/>
              <a:gd name="connsiteY5" fmla="*/ 5523480 h 6858340"/>
              <a:gd name="connsiteX6" fmla="*/ 2149816 w 6656528"/>
              <a:gd name="connsiteY6" fmla="*/ 6858340 h 6858340"/>
              <a:gd name="connsiteX7" fmla="*/ 974159 w 6656528"/>
              <a:gd name="connsiteY7" fmla="*/ 6858340 h 6858340"/>
              <a:gd name="connsiteX8" fmla="*/ 60401 w 6656528"/>
              <a:gd name="connsiteY8" fmla="*/ 5708951 h 6858340"/>
              <a:gd name="connsiteX9" fmla="*/ 6217505 w 6656528"/>
              <a:gd name="connsiteY9" fmla="*/ 2801170 h 6858340"/>
              <a:gd name="connsiteX10" fmla="*/ 4239873 w 6656528"/>
              <a:gd name="connsiteY10" fmla="*/ 1976097 h 6858340"/>
              <a:gd name="connsiteX11" fmla="*/ 6297272 w 6656528"/>
              <a:gd name="connsiteY11" fmla="*/ 1094354 h 6858340"/>
              <a:gd name="connsiteX12" fmla="*/ 4141903 w 6656528"/>
              <a:gd name="connsiteY12" fmla="*/ 0 h 6858340"/>
              <a:gd name="connsiteX0" fmla="*/ 4141903 w 6656528"/>
              <a:gd name="connsiteY0" fmla="*/ 0 h 6858340"/>
              <a:gd name="connsiteX1" fmla="*/ 4260964 w 6656528"/>
              <a:gd name="connsiteY1" fmla="*/ 339 h 6858340"/>
              <a:gd name="connsiteX2" fmla="*/ 6656502 w 6656528"/>
              <a:gd name="connsiteY2" fmla="*/ 1143340 h 6858340"/>
              <a:gd name="connsiteX3" fmla="*/ 4746059 w 6656528"/>
              <a:gd name="connsiteY3" fmla="*/ 1878125 h 6858340"/>
              <a:gd name="connsiteX4" fmla="*/ 6558531 w 6656528"/>
              <a:gd name="connsiteY4" fmla="*/ 2857839 h 6858340"/>
              <a:gd name="connsiteX5" fmla="*/ 682429 w 6656528"/>
              <a:gd name="connsiteY5" fmla="*/ 5523480 h 6858340"/>
              <a:gd name="connsiteX6" fmla="*/ 2149816 w 6656528"/>
              <a:gd name="connsiteY6" fmla="*/ 6858340 h 6858340"/>
              <a:gd name="connsiteX7" fmla="*/ 974159 w 6656528"/>
              <a:gd name="connsiteY7" fmla="*/ 6858340 h 6858340"/>
              <a:gd name="connsiteX8" fmla="*/ 60401 w 6656528"/>
              <a:gd name="connsiteY8" fmla="*/ 5708951 h 6858340"/>
              <a:gd name="connsiteX9" fmla="*/ 6217505 w 6656528"/>
              <a:gd name="connsiteY9" fmla="*/ 2801170 h 6858340"/>
              <a:gd name="connsiteX10" fmla="*/ 4239873 w 6656528"/>
              <a:gd name="connsiteY10" fmla="*/ 1976097 h 6858340"/>
              <a:gd name="connsiteX11" fmla="*/ 6297272 w 6656528"/>
              <a:gd name="connsiteY11" fmla="*/ 1094354 h 6858340"/>
              <a:gd name="connsiteX12" fmla="*/ 4141903 w 6656528"/>
              <a:gd name="connsiteY12" fmla="*/ 0 h 6858340"/>
              <a:gd name="connsiteX0" fmla="*/ 4141903 w 6656528"/>
              <a:gd name="connsiteY0" fmla="*/ 0 h 6858340"/>
              <a:gd name="connsiteX1" fmla="*/ 4260964 w 6656528"/>
              <a:gd name="connsiteY1" fmla="*/ 339 h 6858340"/>
              <a:gd name="connsiteX2" fmla="*/ 6656502 w 6656528"/>
              <a:gd name="connsiteY2" fmla="*/ 1143340 h 6858340"/>
              <a:gd name="connsiteX3" fmla="*/ 4746059 w 6656528"/>
              <a:gd name="connsiteY3" fmla="*/ 1878125 h 6858340"/>
              <a:gd name="connsiteX4" fmla="*/ 6448700 w 6656528"/>
              <a:gd name="connsiteY4" fmla="*/ 2790603 h 6858340"/>
              <a:gd name="connsiteX5" fmla="*/ 682429 w 6656528"/>
              <a:gd name="connsiteY5" fmla="*/ 5523480 h 6858340"/>
              <a:gd name="connsiteX6" fmla="*/ 2149816 w 6656528"/>
              <a:gd name="connsiteY6" fmla="*/ 6858340 h 6858340"/>
              <a:gd name="connsiteX7" fmla="*/ 974159 w 6656528"/>
              <a:gd name="connsiteY7" fmla="*/ 6858340 h 6858340"/>
              <a:gd name="connsiteX8" fmla="*/ 60401 w 6656528"/>
              <a:gd name="connsiteY8" fmla="*/ 5708951 h 6858340"/>
              <a:gd name="connsiteX9" fmla="*/ 6217505 w 6656528"/>
              <a:gd name="connsiteY9" fmla="*/ 2801170 h 6858340"/>
              <a:gd name="connsiteX10" fmla="*/ 4239873 w 6656528"/>
              <a:gd name="connsiteY10" fmla="*/ 1976097 h 6858340"/>
              <a:gd name="connsiteX11" fmla="*/ 6297272 w 6656528"/>
              <a:gd name="connsiteY11" fmla="*/ 1094354 h 6858340"/>
              <a:gd name="connsiteX12" fmla="*/ 4141903 w 6656528"/>
              <a:gd name="connsiteY12" fmla="*/ 0 h 6858340"/>
              <a:gd name="connsiteX0" fmla="*/ 4141903 w 6656528"/>
              <a:gd name="connsiteY0" fmla="*/ 0 h 6858340"/>
              <a:gd name="connsiteX1" fmla="*/ 4260964 w 6656528"/>
              <a:gd name="connsiteY1" fmla="*/ 339 h 6858340"/>
              <a:gd name="connsiteX2" fmla="*/ 6656502 w 6656528"/>
              <a:gd name="connsiteY2" fmla="*/ 1143340 h 6858340"/>
              <a:gd name="connsiteX3" fmla="*/ 4746059 w 6656528"/>
              <a:gd name="connsiteY3" fmla="*/ 1878125 h 6858340"/>
              <a:gd name="connsiteX4" fmla="*/ 6448700 w 6656528"/>
              <a:gd name="connsiteY4" fmla="*/ 2790603 h 6858340"/>
              <a:gd name="connsiteX5" fmla="*/ 682429 w 6656528"/>
              <a:gd name="connsiteY5" fmla="*/ 5523480 h 6858340"/>
              <a:gd name="connsiteX6" fmla="*/ 2149816 w 6656528"/>
              <a:gd name="connsiteY6" fmla="*/ 6858340 h 6858340"/>
              <a:gd name="connsiteX7" fmla="*/ 974159 w 6656528"/>
              <a:gd name="connsiteY7" fmla="*/ 6858340 h 6858340"/>
              <a:gd name="connsiteX8" fmla="*/ 60401 w 6656528"/>
              <a:gd name="connsiteY8" fmla="*/ 5708951 h 6858340"/>
              <a:gd name="connsiteX9" fmla="*/ 6217505 w 6656528"/>
              <a:gd name="connsiteY9" fmla="*/ 2801170 h 6858340"/>
              <a:gd name="connsiteX10" fmla="*/ 4239873 w 6656528"/>
              <a:gd name="connsiteY10" fmla="*/ 1976097 h 6858340"/>
              <a:gd name="connsiteX11" fmla="*/ 6297272 w 6656528"/>
              <a:gd name="connsiteY11" fmla="*/ 1094354 h 6858340"/>
              <a:gd name="connsiteX12" fmla="*/ 4141903 w 6656528"/>
              <a:gd name="connsiteY12" fmla="*/ 0 h 6858340"/>
              <a:gd name="connsiteX0" fmla="*/ 4141903 w 6656528"/>
              <a:gd name="connsiteY0" fmla="*/ 0 h 6858340"/>
              <a:gd name="connsiteX1" fmla="*/ 4260964 w 6656528"/>
              <a:gd name="connsiteY1" fmla="*/ 339 h 6858340"/>
              <a:gd name="connsiteX2" fmla="*/ 6656502 w 6656528"/>
              <a:gd name="connsiteY2" fmla="*/ 1143340 h 6858340"/>
              <a:gd name="connsiteX3" fmla="*/ 4746059 w 6656528"/>
              <a:gd name="connsiteY3" fmla="*/ 1878125 h 6858340"/>
              <a:gd name="connsiteX4" fmla="*/ 6448700 w 6656528"/>
              <a:gd name="connsiteY4" fmla="*/ 2790603 h 6858340"/>
              <a:gd name="connsiteX5" fmla="*/ 682429 w 6656528"/>
              <a:gd name="connsiteY5" fmla="*/ 5523480 h 6858340"/>
              <a:gd name="connsiteX6" fmla="*/ 2149816 w 6656528"/>
              <a:gd name="connsiteY6" fmla="*/ 6858340 h 6858340"/>
              <a:gd name="connsiteX7" fmla="*/ 974159 w 6656528"/>
              <a:gd name="connsiteY7" fmla="*/ 6858340 h 6858340"/>
              <a:gd name="connsiteX8" fmla="*/ 60401 w 6656528"/>
              <a:gd name="connsiteY8" fmla="*/ 5708951 h 6858340"/>
              <a:gd name="connsiteX9" fmla="*/ 6217505 w 6656528"/>
              <a:gd name="connsiteY9" fmla="*/ 2801170 h 6858340"/>
              <a:gd name="connsiteX10" fmla="*/ 4239873 w 6656528"/>
              <a:gd name="connsiteY10" fmla="*/ 1976097 h 6858340"/>
              <a:gd name="connsiteX11" fmla="*/ 6297272 w 6656528"/>
              <a:gd name="connsiteY11" fmla="*/ 1094354 h 6858340"/>
              <a:gd name="connsiteX12" fmla="*/ 4141903 w 6656528"/>
              <a:gd name="connsiteY12" fmla="*/ 0 h 6858340"/>
              <a:gd name="connsiteX0" fmla="*/ 4171606 w 6686231"/>
              <a:gd name="connsiteY0" fmla="*/ 0 h 6858340"/>
              <a:gd name="connsiteX1" fmla="*/ 4290667 w 6686231"/>
              <a:gd name="connsiteY1" fmla="*/ 339 h 6858340"/>
              <a:gd name="connsiteX2" fmla="*/ 6686205 w 6686231"/>
              <a:gd name="connsiteY2" fmla="*/ 1143340 h 6858340"/>
              <a:gd name="connsiteX3" fmla="*/ 4775762 w 6686231"/>
              <a:gd name="connsiteY3" fmla="*/ 1878125 h 6858340"/>
              <a:gd name="connsiteX4" fmla="*/ 6478403 w 6686231"/>
              <a:gd name="connsiteY4" fmla="*/ 2790603 h 6858340"/>
              <a:gd name="connsiteX5" fmla="*/ 712132 w 6686231"/>
              <a:gd name="connsiteY5" fmla="*/ 5523480 h 6858340"/>
              <a:gd name="connsiteX6" fmla="*/ 2179519 w 6686231"/>
              <a:gd name="connsiteY6" fmla="*/ 6858340 h 6858340"/>
              <a:gd name="connsiteX7" fmla="*/ 1003862 w 6686231"/>
              <a:gd name="connsiteY7" fmla="*/ 6858340 h 6858340"/>
              <a:gd name="connsiteX8" fmla="*/ 60150 w 6686231"/>
              <a:gd name="connsiteY8" fmla="*/ 5682057 h 6858340"/>
              <a:gd name="connsiteX9" fmla="*/ 6247208 w 6686231"/>
              <a:gd name="connsiteY9" fmla="*/ 2801170 h 6858340"/>
              <a:gd name="connsiteX10" fmla="*/ 4269576 w 6686231"/>
              <a:gd name="connsiteY10" fmla="*/ 1976097 h 6858340"/>
              <a:gd name="connsiteX11" fmla="*/ 6326975 w 6686231"/>
              <a:gd name="connsiteY11" fmla="*/ 1094354 h 6858340"/>
              <a:gd name="connsiteX12" fmla="*/ 4171606 w 6686231"/>
              <a:gd name="connsiteY12" fmla="*/ 0 h 6858340"/>
              <a:gd name="connsiteX0" fmla="*/ 4154145 w 6668770"/>
              <a:gd name="connsiteY0" fmla="*/ 0 h 6858340"/>
              <a:gd name="connsiteX1" fmla="*/ 4273206 w 6668770"/>
              <a:gd name="connsiteY1" fmla="*/ 339 h 6858340"/>
              <a:gd name="connsiteX2" fmla="*/ 6668744 w 6668770"/>
              <a:gd name="connsiteY2" fmla="*/ 1143340 h 6858340"/>
              <a:gd name="connsiteX3" fmla="*/ 4758301 w 6668770"/>
              <a:gd name="connsiteY3" fmla="*/ 1878125 h 6858340"/>
              <a:gd name="connsiteX4" fmla="*/ 6460942 w 6668770"/>
              <a:gd name="connsiteY4" fmla="*/ 2790603 h 6858340"/>
              <a:gd name="connsiteX5" fmla="*/ 694671 w 6668770"/>
              <a:gd name="connsiteY5" fmla="*/ 5523480 h 6858340"/>
              <a:gd name="connsiteX6" fmla="*/ 2162058 w 6668770"/>
              <a:gd name="connsiteY6" fmla="*/ 6858340 h 6858340"/>
              <a:gd name="connsiteX7" fmla="*/ 986401 w 6668770"/>
              <a:gd name="connsiteY7" fmla="*/ 6858340 h 6858340"/>
              <a:gd name="connsiteX8" fmla="*/ 42689 w 6668770"/>
              <a:gd name="connsiteY8" fmla="*/ 5682057 h 6858340"/>
              <a:gd name="connsiteX9" fmla="*/ 6229747 w 6668770"/>
              <a:gd name="connsiteY9" fmla="*/ 2801170 h 6858340"/>
              <a:gd name="connsiteX10" fmla="*/ 4252115 w 6668770"/>
              <a:gd name="connsiteY10" fmla="*/ 1976097 h 6858340"/>
              <a:gd name="connsiteX11" fmla="*/ 6309514 w 6668770"/>
              <a:gd name="connsiteY11" fmla="*/ 1094354 h 6858340"/>
              <a:gd name="connsiteX12" fmla="*/ 4154145 w 6668770"/>
              <a:gd name="connsiteY12" fmla="*/ 0 h 6858340"/>
              <a:gd name="connsiteX0" fmla="*/ 4183917 w 6698542"/>
              <a:gd name="connsiteY0" fmla="*/ 0 h 6858340"/>
              <a:gd name="connsiteX1" fmla="*/ 4302978 w 6698542"/>
              <a:gd name="connsiteY1" fmla="*/ 339 h 6858340"/>
              <a:gd name="connsiteX2" fmla="*/ 6698516 w 6698542"/>
              <a:gd name="connsiteY2" fmla="*/ 1143340 h 6858340"/>
              <a:gd name="connsiteX3" fmla="*/ 4788073 w 6698542"/>
              <a:gd name="connsiteY3" fmla="*/ 1878125 h 6858340"/>
              <a:gd name="connsiteX4" fmla="*/ 6490714 w 6698542"/>
              <a:gd name="connsiteY4" fmla="*/ 2790603 h 6858340"/>
              <a:gd name="connsiteX5" fmla="*/ 724443 w 6698542"/>
              <a:gd name="connsiteY5" fmla="*/ 5523480 h 6858340"/>
              <a:gd name="connsiteX6" fmla="*/ 2191830 w 6698542"/>
              <a:gd name="connsiteY6" fmla="*/ 6858340 h 6858340"/>
              <a:gd name="connsiteX7" fmla="*/ 1016173 w 6698542"/>
              <a:gd name="connsiteY7" fmla="*/ 6858340 h 6858340"/>
              <a:gd name="connsiteX8" fmla="*/ 42507 w 6698542"/>
              <a:gd name="connsiteY8" fmla="*/ 5682057 h 6858340"/>
              <a:gd name="connsiteX9" fmla="*/ 6259519 w 6698542"/>
              <a:gd name="connsiteY9" fmla="*/ 2801170 h 6858340"/>
              <a:gd name="connsiteX10" fmla="*/ 4281887 w 6698542"/>
              <a:gd name="connsiteY10" fmla="*/ 1976097 h 6858340"/>
              <a:gd name="connsiteX11" fmla="*/ 6339286 w 6698542"/>
              <a:gd name="connsiteY11" fmla="*/ 1094354 h 6858340"/>
              <a:gd name="connsiteX12" fmla="*/ 4183917 w 6698542"/>
              <a:gd name="connsiteY12" fmla="*/ 0 h 6858340"/>
              <a:gd name="connsiteX0" fmla="*/ 4183917 w 6698542"/>
              <a:gd name="connsiteY0" fmla="*/ 0 h 6858340"/>
              <a:gd name="connsiteX1" fmla="*/ 4302978 w 6698542"/>
              <a:gd name="connsiteY1" fmla="*/ 339 h 6858340"/>
              <a:gd name="connsiteX2" fmla="*/ 6698516 w 6698542"/>
              <a:gd name="connsiteY2" fmla="*/ 1143340 h 6858340"/>
              <a:gd name="connsiteX3" fmla="*/ 4788073 w 6698542"/>
              <a:gd name="connsiteY3" fmla="*/ 1878125 h 6858340"/>
              <a:gd name="connsiteX4" fmla="*/ 6490714 w 6698542"/>
              <a:gd name="connsiteY4" fmla="*/ 2790603 h 6858340"/>
              <a:gd name="connsiteX5" fmla="*/ 724443 w 6698542"/>
              <a:gd name="connsiteY5" fmla="*/ 5523480 h 6858340"/>
              <a:gd name="connsiteX6" fmla="*/ 2191830 w 6698542"/>
              <a:gd name="connsiteY6" fmla="*/ 6858340 h 6858340"/>
              <a:gd name="connsiteX7" fmla="*/ 1016173 w 6698542"/>
              <a:gd name="connsiteY7" fmla="*/ 6858340 h 6858340"/>
              <a:gd name="connsiteX8" fmla="*/ 42507 w 6698542"/>
              <a:gd name="connsiteY8" fmla="*/ 5682057 h 6858340"/>
              <a:gd name="connsiteX9" fmla="*/ 6259519 w 6698542"/>
              <a:gd name="connsiteY9" fmla="*/ 2801170 h 6858340"/>
              <a:gd name="connsiteX10" fmla="*/ 4281887 w 6698542"/>
              <a:gd name="connsiteY10" fmla="*/ 1976097 h 6858340"/>
              <a:gd name="connsiteX11" fmla="*/ 6339286 w 6698542"/>
              <a:gd name="connsiteY11" fmla="*/ 1094354 h 6858340"/>
              <a:gd name="connsiteX12" fmla="*/ 4183917 w 6698542"/>
              <a:gd name="connsiteY12" fmla="*/ 0 h 6858340"/>
              <a:gd name="connsiteX0" fmla="*/ 4183917 w 6698542"/>
              <a:gd name="connsiteY0" fmla="*/ 0 h 6858340"/>
              <a:gd name="connsiteX1" fmla="*/ 4302978 w 6698542"/>
              <a:gd name="connsiteY1" fmla="*/ 339 h 6858340"/>
              <a:gd name="connsiteX2" fmla="*/ 6698516 w 6698542"/>
              <a:gd name="connsiteY2" fmla="*/ 1143340 h 6858340"/>
              <a:gd name="connsiteX3" fmla="*/ 4788073 w 6698542"/>
              <a:gd name="connsiteY3" fmla="*/ 1878125 h 6858340"/>
              <a:gd name="connsiteX4" fmla="*/ 6490714 w 6698542"/>
              <a:gd name="connsiteY4" fmla="*/ 2790603 h 6858340"/>
              <a:gd name="connsiteX5" fmla="*/ 724443 w 6698542"/>
              <a:gd name="connsiteY5" fmla="*/ 5523480 h 6858340"/>
              <a:gd name="connsiteX6" fmla="*/ 2191830 w 6698542"/>
              <a:gd name="connsiteY6" fmla="*/ 6858340 h 6858340"/>
              <a:gd name="connsiteX7" fmla="*/ 1016173 w 6698542"/>
              <a:gd name="connsiteY7" fmla="*/ 6858340 h 6858340"/>
              <a:gd name="connsiteX8" fmla="*/ 42507 w 6698542"/>
              <a:gd name="connsiteY8" fmla="*/ 5682057 h 6858340"/>
              <a:gd name="connsiteX9" fmla="*/ 6259519 w 6698542"/>
              <a:gd name="connsiteY9" fmla="*/ 2801170 h 6858340"/>
              <a:gd name="connsiteX10" fmla="*/ 4281887 w 6698542"/>
              <a:gd name="connsiteY10" fmla="*/ 1976097 h 6858340"/>
              <a:gd name="connsiteX11" fmla="*/ 6339286 w 6698542"/>
              <a:gd name="connsiteY11" fmla="*/ 1094354 h 6858340"/>
              <a:gd name="connsiteX12" fmla="*/ 4183917 w 6698542"/>
              <a:gd name="connsiteY12" fmla="*/ 0 h 6858340"/>
              <a:gd name="connsiteX0" fmla="*/ 4183917 w 6698542"/>
              <a:gd name="connsiteY0" fmla="*/ 0 h 6858340"/>
              <a:gd name="connsiteX1" fmla="*/ 4302978 w 6698542"/>
              <a:gd name="connsiteY1" fmla="*/ 339 h 6858340"/>
              <a:gd name="connsiteX2" fmla="*/ 6698516 w 6698542"/>
              <a:gd name="connsiteY2" fmla="*/ 1143340 h 6858340"/>
              <a:gd name="connsiteX3" fmla="*/ 4788073 w 6698542"/>
              <a:gd name="connsiteY3" fmla="*/ 1878125 h 6858340"/>
              <a:gd name="connsiteX4" fmla="*/ 6490714 w 6698542"/>
              <a:gd name="connsiteY4" fmla="*/ 2790603 h 6858340"/>
              <a:gd name="connsiteX5" fmla="*/ 724443 w 6698542"/>
              <a:gd name="connsiteY5" fmla="*/ 5523480 h 6858340"/>
              <a:gd name="connsiteX6" fmla="*/ 2191830 w 6698542"/>
              <a:gd name="connsiteY6" fmla="*/ 6858340 h 6858340"/>
              <a:gd name="connsiteX7" fmla="*/ 1016173 w 6698542"/>
              <a:gd name="connsiteY7" fmla="*/ 6858340 h 6858340"/>
              <a:gd name="connsiteX8" fmla="*/ 42507 w 6698542"/>
              <a:gd name="connsiteY8" fmla="*/ 5682057 h 6858340"/>
              <a:gd name="connsiteX9" fmla="*/ 6259519 w 6698542"/>
              <a:gd name="connsiteY9" fmla="*/ 2801170 h 6858340"/>
              <a:gd name="connsiteX10" fmla="*/ 4281887 w 6698542"/>
              <a:gd name="connsiteY10" fmla="*/ 1976097 h 6858340"/>
              <a:gd name="connsiteX11" fmla="*/ 6339286 w 6698542"/>
              <a:gd name="connsiteY11" fmla="*/ 1094354 h 6858340"/>
              <a:gd name="connsiteX12" fmla="*/ 4183917 w 6698542"/>
              <a:gd name="connsiteY12" fmla="*/ 0 h 6858340"/>
              <a:gd name="connsiteX0" fmla="*/ 4217886 w 6732511"/>
              <a:gd name="connsiteY0" fmla="*/ 0 h 6858340"/>
              <a:gd name="connsiteX1" fmla="*/ 4336947 w 6732511"/>
              <a:gd name="connsiteY1" fmla="*/ 339 h 6858340"/>
              <a:gd name="connsiteX2" fmla="*/ 6732485 w 6732511"/>
              <a:gd name="connsiteY2" fmla="*/ 1143340 h 6858340"/>
              <a:gd name="connsiteX3" fmla="*/ 4822042 w 6732511"/>
              <a:gd name="connsiteY3" fmla="*/ 1878125 h 6858340"/>
              <a:gd name="connsiteX4" fmla="*/ 6524683 w 6732511"/>
              <a:gd name="connsiteY4" fmla="*/ 2790603 h 6858340"/>
              <a:gd name="connsiteX5" fmla="*/ 758412 w 6732511"/>
              <a:gd name="connsiteY5" fmla="*/ 5523480 h 6858340"/>
              <a:gd name="connsiteX6" fmla="*/ 2225799 w 6732511"/>
              <a:gd name="connsiteY6" fmla="*/ 6858340 h 6858340"/>
              <a:gd name="connsiteX7" fmla="*/ 1050142 w 6732511"/>
              <a:gd name="connsiteY7" fmla="*/ 6858340 h 6858340"/>
              <a:gd name="connsiteX8" fmla="*/ 76476 w 6732511"/>
              <a:gd name="connsiteY8" fmla="*/ 5682057 h 6858340"/>
              <a:gd name="connsiteX9" fmla="*/ 6293488 w 6732511"/>
              <a:gd name="connsiteY9" fmla="*/ 2801170 h 6858340"/>
              <a:gd name="connsiteX10" fmla="*/ 4315856 w 6732511"/>
              <a:gd name="connsiteY10" fmla="*/ 1976097 h 6858340"/>
              <a:gd name="connsiteX11" fmla="*/ 6373255 w 6732511"/>
              <a:gd name="connsiteY11" fmla="*/ 1094354 h 6858340"/>
              <a:gd name="connsiteX12" fmla="*/ 4217886 w 6732511"/>
              <a:gd name="connsiteY12" fmla="*/ 0 h 6858340"/>
              <a:gd name="connsiteX0" fmla="*/ 4217886 w 6732511"/>
              <a:gd name="connsiteY0" fmla="*/ 0 h 6858340"/>
              <a:gd name="connsiteX1" fmla="*/ 4336947 w 6732511"/>
              <a:gd name="connsiteY1" fmla="*/ 339 h 6858340"/>
              <a:gd name="connsiteX2" fmla="*/ 6732485 w 6732511"/>
              <a:gd name="connsiteY2" fmla="*/ 1143340 h 6858340"/>
              <a:gd name="connsiteX3" fmla="*/ 4822042 w 6732511"/>
              <a:gd name="connsiteY3" fmla="*/ 1878125 h 6858340"/>
              <a:gd name="connsiteX4" fmla="*/ 6524683 w 6732511"/>
              <a:gd name="connsiteY4" fmla="*/ 2790603 h 6858340"/>
              <a:gd name="connsiteX5" fmla="*/ 758412 w 6732511"/>
              <a:gd name="connsiteY5" fmla="*/ 5523480 h 6858340"/>
              <a:gd name="connsiteX6" fmla="*/ 2225799 w 6732511"/>
              <a:gd name="connsiteY6" fmla="*/ 6858340 h 6858340"/>
              <a:gd name="connsiteX7" fmla="*/ 1050142 w 6732511"/>
              <a:gd name="connsiteY7" fmla="*/ 6858340 h 6858340"/>
              <a:gd name="connsiteX8" fmla="*/ 76476 w 6732511"/>
              <a:gd name="connsiteY8" fmla="*/ 5682057 h 6858340"/>
              <a:gd name="connsiteX9" fmla="*/ 6293488 w 6732511"/>
              <a:gd name="connsiteY9" fmla="*/ 2801170 h 6858340"/>
              <a:gd name="connsiteX10" fmla="*/ 4575458 w 6732511"/>
              <a:gd name="connsiteY10" fmla="*/ 1935755 h 6858340"/>
              <a:gd name="connsiteX11" fmla="*/ 6373255 w 6732511"/>
              <a:gd name="connsiteY11" fmla="*/ 1094354 h 6858340"/>
              <a:gd name="connsiteX12" fmla="*/ 4217886 w 6732511"/>
              <a:gd name="connsiteY12" fmla="*/ 0 h 6858340"/>
              <a:gd name="connsiteX0" fmla="*/ 4217886 w 6732511"/>
              <a:gd name="connsiteY0" fmla="*/ 0 h 6858340"/>
              <a:gd name="connsiteX1" fmla="*/ 4336947 w 6732511"/>
              <a:gd name="connsiteY1" fmla="*/ 339 h 6858340"/>
              <a:gd name="connsiteX2" fmla="*/ 6732485 w 6732511"/>
              <a:gd name="connsiteY2" fmla="*/ 1143340 h 6858340"/>
              <a:gd name="connsiteX3" fmla="*/ 4822042 w 6732511"/>
              <a:gd name="connsiteY3" fmla="*/ 1878125 h 6858340"/>
              <a:gd name="connsiteX4" fmla="*/ 6524683 w 6732511"/>
              <a:gd name="connsiteY4" fmla="*/ 2790603 h 6858340"/>
              <a:gd name="connsiteX5" fmla="*/ 758412 w 6732511"/>
              <a:gd name="connsiteY5" fmla="*/ 5523480 h 6858340"/>
              <a:gd name="connsiteX6" fmla="*/ 2225799 w 6732511"/>
              <a:gd name="connsiteY6" fmla="*/ 6858340 h 6858340"/>
              <a:gd name="connsiteX7" fmla="*/ 1050142 w 6732511"/>
              <a:gd name="connsiteY7" fmla="*/ 6858340 h 6858340"/>
              <a:gd name="connsiteX8" fmla="*/ 76476 w 6732511"/>
              <a:gd name="connsiteY8" fmla="*/ 5682057 h 6858340"/>
              <a:gd name="connsiteX9" fmla="*/ 6293488 w 6732511"/>
              <a:gd name="connsiteY9" fmla="*/ 2801170 h 6858340"/>
              <a:gd name="connsiteX10" fmla="*/ 4575458 w 6732511"/>
              <a:gd name="connsiteY10" fmla="*/ 1935755 h 6858340"/>
              <a:gd name="connsiteX11" fmla="*/ 6373255 w 6732511"/>
              <a:gd name="connsiteY11" fmla="*/ 1094354 h 6858340"/>
              <a:gd name="connsiteX12" fmla="*/ 4217886 w 6732511"/>
              <a:gd name="connsiteY12" fmla="*/ 0 h 6858340"/>
              <a:gd name="connsiteX0" fmla="*/ 4217886 w 6732511"/>
              <a:gd name="connsiteY0" fmla="*/ 0 h 6858340"/>
              <a:gd name="connsiteX1" fmla="*/ 4336947 w 6732511"/>
              <a:gd name="connsiteY1" fmla="*/ 339 h 6858340"/>
              <a:gd name="connsiteX2" fmla="*/ 6732485 w 6732511"/>
              <a:gd name="connsiteY2" fmla="*/ 1143340 h 6858340"/>
              <a:gd name="connsiteX3" fmla="*/ 4822042 w 6732511"/>
              <a:gd name="connsiteY3" fmla="*/ 1878125 h 6858340"/>
              <a:gd name="connsiteX4" fmla="*/ 6524683 w 6732511"/>
              <a:gd name="connsiteY4" fmla="*/ 2790603 h 6858340"/>
              <a:gd name="connsiteX5" fmla="*/ 758412 w 6732511"/>
              <a:gd name="connsiteY5" fmla="*/ 5523480 h 6858340"/>
              <a:gd name="connsiteX6" fmla="*/ 2225799 w 6732511"/>
              <a:gd name="connsiteY6" fmla="*/ 6858340 h 6858340"/>
              <a:gd name="connsiteX7" fmla="*/ 1050142 w 6732511"/>
              <a:gd name="connsiteY7" fmla="*/ 6858340 h 6858340"/>
              <a:gd name="connsiteX8" fmla="*/ 76476 w 6732511"/>
              <a:gd name="connsiteY8" fmla="*/ 5682057 h 6858340"/>
              <a:gd name="connsiteX9" fmla="*/ 6293488 w 6732511"/>
              <a:gd name="connsiteY9" fmla="*/ 2801170 h 6858340"/>
              <a:gd name="connsiteX10" fmla="*/ 4575458 w 6732511"/>
              <a:gd name="connsiteY10" fmla="*/ 1935755 h 6858340"/>
              <a:gd name="connsiteX11" fmla="*/ 6373255 w 6732511"/>
              <a:gd name="connsiteY11" fmla="*/ 1094354 h 6858340"/>
              <a:gd name="connsiteX12" fmla="*/ 4217886 w 6732511"/>
              <a:gd name="connsiteY12" fmla="*/ 0 h 6858340"/>
              <a:gd name="connsiteX0" fmla="*/ 4217886 w 6732511"/>
              <a:gd name="connsiteY0" fmla="*/ 0 h 6858340"/>
              <a:gd name="connsiteX1" fmla="*/ 4336947 w 6732511"/>
              <a:gd name="connsiteY1" fmla="*/ 339 h 6858340"/>
              <a:gd name="connsiteX2" fmla="*/ 6732485 w 6732511"/>
              <a:gd name="connsiteY2" fmla="*/ 1143340 h 6858340"/>
              <a:gd name="connsiteX3" fmla="*/ 4822042 w 6732511"/>
              <a:gd name="connsiteY3" fmla="*/ 1878125 h 6858340"/>
              <a:gd name="connsiteX4" fmla="*/ 6524683 w 6732511"/>
              <a:gd name="connsiteY4" fmla="*/ 2790603 h 6858340"/>
              <a:gd name="connsiteX5" fmla="*/ 758412 w 6732511"/>
              <a:gd name="connsiteY5" fmla="*/ 5523480 h 6858340"/>
              <a:gd name="connsiteX6" fmla="*/ 2225799 w 6732511"/>
              <a:gd name="connsiteY6" fmla="*/ 6858340 h 6858340"/>
              <a:gd name="connsiteX7" fmla="*/ 1050142 w 6732511"/>
              <a:gd name="connsiteY7" fmla="*/ 6858340 h 6858340"/>
              <a:gd name="connsiteX8" fmla="*/ 76476 w 6732511"/>
              <a:gd name="connsiteY8" fmla="*/ 5682057 h 6858340"/>
              <a:gd name="connsiteX9" fmla="*/ 6293488 w 6732511"/>
              <a:gd name="connsiteY9" fmla="*/ 2801170 h 6858340"/>
              <a:gd name="connsiteX10" fmla="*/ 4575458 w 6732511"/>
              <a:gd name="connsiteY10" fmla="*/ 1935755 h 6858340"/>
              <a:gd name="connsiteX11" fmla="*/ 6373255 w 6732511"/>
              <a:gd name="connsiteY11" fmla="*/ 1094354 h 6858340"/>
              <a:gd name="connsiteX12" fmla="*/ 4217886 w 6732511"/>
              <a:gd name="connsiteY12" fmla="*/ 0 h 6858340"/>
              <a:gd name="connsiteX0" fmla="*/ 4217886 w 6732511"/>
              <a:gd name="connsiteY0" fmla="*/ 0 h 6858340"/>
              <a:gd name="connsiteX1" fmla="*/ 4336947 w 6732511"/>
              <a:gd name="connsiteY1" fmla="*/ 339 h 6858340"/>
              <a:gd name="connsiteX2" fmla="*/ 6732485 w 6732511"/>
              <a:gd name="connsiteY2" fmla="*/ 1143340 h 6858340"/>
              <a:gd name="connsiteX3" fmla="*/ 4822042 w 6732511"/>
              <a:gd name="connsiteY3" fmla="*/ 1878125 h 6858340"/>
              <a:gd name="connsiteX4" fmla="*/ 6524683 w 6732511"/>
              <a:gd name="connsiteY4" fmla="*/ 2790603 h 6858340"/>
              <a:gd name="connsiteX5" fmla="*/ 758412 w 6732511"/>
              <a:gd name="connsiteY5" fmla="*/ 5523480 h 6858340"/>
              <a:gd name="connsiteX6" fmla="*/ 2225799 w 6732511"/>
              <a:gd name="connsiteY6" fmla="*/ 6858340 h 6858340"/>
              <a:gd name="connsiteX7" fmla="*/ 1050142 w 6732511"/>
              <a:gd name="connsiteY7" fmla="*/ 6858340 h 6858340"/>
              <a:gd name="connsiteX8" fmla="*/ 76476 w 6732511"/>
              <a:gd name="connsiteY8" fmla="*/ 5682057 h 6858340"/>
              <a:gd name="connsiteX9" fmla="*/ 6293488 w 6732511"/>
              <a:gd name="connsiteY9" fmla="*/ 2801170 h 6858340"/>
              <a:gd name="connsiteX10" fmla="*/ 4575458 w 6732511"/>
              <a:gd name="connsiteY10" fmla="*/ 1935755 h 6858340"/>
              <a:gd name="connsiteX11" fmla="*/ 6373255 w 6732511"/>
              <a:gd name="connsiteY11" fmla="*/ 1094354 h 6858340"/>
              <a:gd name="connsiteX12" fmla="*/ 4217886 w 6732511"/>
              <a:gd name="connsiteY12" fmla="*/ 0 h 6858340"/>
              <a:gd name="connsiteX0" fmla="*/ 4217886 w 6732511"/>
              <a:gd name="connsiteY0" fmla="*/ 0 h 6858340"/>
              <a:gd name="connsiteX1" fmla="*/ 4336947 w 6732511"/>
              <a:gd name="connsiteY1" fmla="*/ 339 h 6858340"/>
              <a:gd name="connsiteX2" fmla="*/ 6732485 w 6732511"/>
              <a:gd name="connsiteY2" fmla="*/ 1143340 h 6858340"/>
              <a:gd name="connsiteX3" fmla="*/ 4822042 w 6732511"/>
              <a:gd name="connsiteY3" fmla="*/ 1878125 h 6858340"/>
              <a:gd name="connsiteX4" fmla="*/ 6524683 w 6732511"/>
              <a:gd name="connsiteY4" fmla="*/ 2790603 h 6858340"/>
              <a:gd name="connsiteX5" fmla="*/ 758412 w 6732511"/>
              <a:gd name="connsiteY5" fmla="*/ 5523480 h 6858340"/>
              <a:gd name="connsiteX6" fmla="*/ 2225799 w 6732511"/>
              <a:gd name="connsiteY6" fmla="*/ 6858340 h 6858340"/>
              <a:gd name="connsiteX7" fmla="*/ 1050142 w 6732511"/>
              <a:gd name="connsiteY7" fmla="*/ 6858340 h 6858340"/>
              <a:gd name="connsiteX8" fmla="*/ 76476 w 6732511"/>
              <a:gd name="connsiteY8" fmla="*/ 5682057 h 6858340"/>
              <a:gd name="connsiteX9" fmla="*/ 6293488 w 6732511"/>
              <a:gd name="connsiteY9" fmla="*/ 2801170 h 6858340"/>
              <a:gd name="connsiteX10" fmla="*/ 4575458 w 6732511"/>
              <a:gd name="connsiteY10" fmla="*/ 1935755 h 6858340"/>
              <a:gd name="connsiteX11" fmla="*/ 6373255 w 6732511"/>
              <a:gd name="connsiteY11" fmla="*/ 1094354 h 6858340"/>
              <a:gd name="connsiteX12" fmla="*/ 4217886 w 6732511"/>
              <a:gd name="connsiteY12" fmla="*/ 0 h 6858340"/>
              <a:gd name="connsiteX0" fmla="*/ 4217886 w 6732510"/>
              <a:gd name="connsiteY0" fmla="*/ 0 h 6858340"/>
              <a:gd name="connsiteX1" fmla="*/ 4336947 w 6732510"/>
              <a:gd name="connsiteY1" fmla="*/ 339 h 6858340"/>
              <a:gd name="connsiteX2" fmla="*/ 6732485 w 6732510"/>
              <a:gd name="connsiteY2" fmla="*/ 1143340 h 6858340"/>
              <a:gd name="connsiteX3" fmla="*/ 4772119 w 6732510"/>
              <a:gd name="connsiteY3" fmla="*/ 1878125 h 6858340"/>
              <a:gd name="connsiteX4" fmla="*/ 6524683 w 6732510"/>
              <a:gd name="connsiteY4" fmla="*/ 2790603 h 6858340"/>
              <a:gd name="connsiteX5" fmla="*/ 758412 w 6732510"/>
              <a:gd name="connsiteY5" fmla="*/ 5523480 h 6858340"/>
              <a:gd name="connsiteX6" fmla="*/ 2225799 w 6732510"/>
              <a:gd name="connsiteY6" fmla="*/ 6858340 h 6858340"/>
              <a:gd name="connsiteX7" fmla="*/ 1050142 w 6732510"/>
              <a:gd name="connsiteY7" fmla="*/ 6858340 h 6858340"/>
              <a:gd name="connsiteX8" fmla="*/ 76476 w 6732510"/>
              <a:gd name="connsiteY8" fmla="*/ 5682057 h 6858340"/>
              <a:gd name="connsiteX9" fmla="*/ 6293488 w 6732510"/>
              <a:gd name="connsiteY9" fmla="*/ 2801170 h 6858340"/>
              <a:gd name="connsiteX10" fmla="*/ 4575458 w 6732510"/>
              <a:gd name="connsiteY10" fmla="*/ 1935755 h 6858340"/>
              <a:gd name="connsiteX11" fmla="*/ 6373255 w 6732510"/>
              <a:gd name="connsiteY11" fmla="*/ 1094354 h 6858340"/>
              <a:gd name="connsiteX12" fmla="*/ 4217886 w 6732510"/>
              <a:gd name="connsiteY12" fmla="*/ 0 h 6858340"/>
              <a:gd name="connsiteX0" fmla="*/ 4217886 w 6732510"/>
              <a:gd name="connsiteY0" fmla="*/ 0 h 6858340"/>
              <a:gd name="connsiteX1" fmla="*/ 4336947 w 6732510"/>
              <a:gd name="connsiteY1" fmla="*/ 339 h 6858340"/>
              <a:gd name="connsiteX2" fmla="*/ 6732485 w 6732510"/>
              <a:gd name="connsiteY2" fmla="*/ 1143340 h 6858340"/>
              <a:gd name="connsiteX3" fmla="*/ 4732181 w 6732510"/>
              <a:gd name="connsiteY3" fmla="*/ 1905019 h 6858340"/>
              <a:gd name="connsiteX4" fmla="*/ 6524683 w 6732510"/>
              <a:gd name="connsiteY4" fmla="*/ 2790603 h 6858340"/>
              <a:gd name="connsiteX5" fmla="*/ 758412 w 6732510"/>
              <a:gd name="connsiteY5" fmla="*/ 5523480 h 6858340"/>
              <a:gd name="connsiteX6" fmla="*/ 2225799 w 6732510"/>
              <a:gd name="connsiteY6" fmla="*/ 6858340 h 6858340"/>
              <a:gd name="connsiteX7" fmla="*/ 1050142 w 6732510"/>
              <a:gd name="connsiteY7" fmla="*/ 6858340 h 6858340"/>
              <a:gd name="connsiteX8" fmla="*/ 76476 w 6732510"/>
              <a:gd name="connsiteY8" fmla="*/ 5682057 h 6858340"/>
              <a:gd name="connsiteX9" fmla="*/ 6293488 w 6732510"/>
              <a:gd name="connsiteY9" fmla="*/ 2801170 h 6858340"/>
              <a:gd name="connsiteX10" fmla="*/ 4575458 w 6732510"/>
              <a:gd name="connsiteY10" fmla="*/ 1935755 h 6858340"/>
              <a:gd name="connsiteX11" fmla="*/ 6373255 w 6732510"/>
              <a:gd name="connsiteY11" fmla="*/ 1094354 h 6858340"/>
              <a:gd name="connsiteX12" fmla="*/ 4217886 w 6732510"/>
              <a:gd name="connsiteY12" fmla="*/ 0 h 6858340"/>
              <a:gd name="connsiteX0" fmla="*/ 4217886 w 6530113"/>
              <a:gd name="connsiteY0" fmla="*/ 0 h 6858340"/>
              <a:gd name="connsiteX1" fmla="*/ 4336947 w 6530113"/>
              <a:gd name="connsiteY1" fmla="*/ 339 h 6858340"/>
              <a:gd name="connsiteX2" fmla="*/ 6512822 w 6530113"/>
              <a:gd name="connsiteY2" fmla="*/ 1102999 h 6858340"/>
              <a:gd name="connsiteX3" fmla="*/ 4732181 w 6530113"/>
              <a:gd name="connsiteY3" fmla="*/ 1905019 h 6858340"/>
              <a:gd name="connsiteX4" fmla="*/ 6524683 w 6530113"/>
              <a:gd name="connsiteY4" fmla="*/ 2790603 h 6858340"/>
              <a:gd name="connsiteX5" fmla="*/ 758412 w 6530113"/>
              <a:gd name="connsiteY5" fmla="*/ 5523480 h 6858340"/>
              <a:gd name="connsiteX6" fmla="*/ 2225799 w 6530113"/>
              <a:gd name="connsiteY6" fmla="*/ 6858340 h 6858340"/>
              <a:gd name="connsiteX7" fmla="*/ 1050142 w 6530113"/>
              <a:gd name="connsiteY7" fmla="*/ 6858340 h 6858340"/>
              <a:gd name="connsiteX8" fmla="*/ 76476 w 6530113"/>
              <a:gd name="connsiteY8" fmla="*/ 5682057 h 6858340"/>
              <a:gd name="connsiteX9" fmla="*/ 6293488 w 6530113"/>
              <a:gd name="connsiteY9" fmla="*/ 2801170 h 6858340"/>
              <a:gd name="connsiteX10" fmla="*/ 4575458 w 6530113"/>
              <a:gd name="connsiteY10" fmla="*/ 1935755 h 6858340"/>
              <a:gd name="connsiteX11" fmla="*/ 6373255 w 6530113"/>
              <a:gd name="connsiteY11" fmla="*/ 1094354 h 6858340"/>
              <a:gd name="connsiteX12" fmla="*/ 4217886 w 6530113"/>
              <a:gd name="connsiteY12" fmla="*/ 0 h 6858340"/>
              <a:gd name="connsiteX0" fmla="*/ 4217886 w 6530113"/>
              <a:gd name="connsiteY0" fmla="*/ 0 h 6858340"/>
              <a:gd name="connsiteX1" fmla="*/ 4336947 w 6530113"/>
              <a:gd name="connsiteY1" fmla="*/ 339 h 6858340"/>
              <a:gd name="connsiteX2" fmla="*/ 6512822 w 6530113"/>
              <a:gd name="connsiteY2" fmla="*/ 1102999 h 6858340"/>
              <a:gd name="connsiteX3" fmla="*/ 4732181 w 6530113"/>
              <a:gd name="connsiteY3" fmla="*/ 1905019 h 6858340"/>
              <a:gd name="connsiteX4" fmla="*/ 6524683 w 6530113"/>
              <a:gd name="connsiteY4" fmla="*/ 2790603 h 6858340"/>
              <a:gd name="connsiteX5" fmla="*/ 758412 w 6530113"/>
              <a:gd name="connsiteY5" fmla="*/ 5523480 h 6858340"/>
              <a:gd name="connsiteX6" fmla="*/ 2225799 w 6530113"/>
              <a:gd name="connsiteY6" fmla="*/ 6858340 h 6858340"/>
              <a:gd name="connsiteX7" fmla="*/ 1050142 w 6530113"/>
              <a:gd name="connsiteY7" fmla="*/ 6858340 h 6858340"/>
              <a:gd name="connsiteX8" fmla="*/ 76476 w 6530113"/>
              <a:gd name="connsiteY8" fmla="*/ 5682057 h 6858340"/>
              <a:gd name="connsiteX9" fmla="*/ 6293488 w 6530113"/>
              <a:gd name="connsiteY9" fmla="*/ 2801170 h 6858340"/>
              <a:gd name="connsiteX10" fmla="*/ 4575458 w 6530113"/>
              <a:gd name="connsiteY10" fmla="*/ 1935755 h 6858340"/>
              <a:gd name="connsiteX11" fmla="*/ 6373255 w 6530113"/>
              <a:gd name="connsiteY11" fmla="*/ 1094354 h 6858340"/>
              <a:gd name="connsiteX12" fmla="*/ 4217886 w 6530113"/>
              <a:gd name="connsiteY12" fmla="*/ 0 h 6858340"/>
              <a:gd name="connsiteX0" fmla="*/ 4217886 w 6530113"/>
              <a:gd name="connsiteY0" fmla="*/ 0 h 6858340"/>
              <a:gd name="connsiteX1" fmla="*/ 4336947 w 6530113"/>
              <a:gd name="connsiteY1" fmla="*/ 339 h 6858340"/>
              <a:gd name="connsiteX2" fmla="*/ 6512822 w 6530113"/>
              <a:gd name="connsiteY2" fmla="*/ 1102999 h 6858340"/>
              <a:gd name="connsiteX3" fmla="*/ 4732181 w 6530113"/>
              <a:gd name="connsiteY3" fmla="*/ 1905019 h 6858340"/>
              <a:gd name="connsiteX4" fmla="*/ 6524683 w 6530113"/>
              <a:gd name="connsiteY4" fmla="*/ 2790603 h 6858340"/>
              <a:gd name="connsiteX5" fmla="*/ 758412 w 6530113"/>
              <a:gd name="connsiteY5" fmla="*/ 5523480 h 6858340"/>
              <a:gd name="connsiteX6" fmla="*/ 2225799 w 6530113"/>
              <a:gd name="connsiteY6" fmla="*/ 6858340 h 6858340"/>
              <a:gd name="connsiteX7" fmla="*/ 1050142 w 6530113"/>
              <a:gd name="connsiteY7" fmla="*/ 6858340 h 6858340"/>
              <a:gd name="connsiteX8" fmla="*/ 76476 w 6530113"/>
              <a:gd name="connsiteY8" fmla="*/ 5682057 h 6858340"/>
              <a:gd name="connsiteX9" fmla="*/ 6293488 w 6530113"/>
              <a:gd name="connsiteY9" fmla="*/ 2801170 h 6858340"/>
              <a:gd name="connsiteX10" fmla="*/ 4575458 w 6530113"/>
              <a:gd name="connsiteY10" fmla="*/ 1935755 h 6858340"/>
              <a:gd name="connsiteX11" fmla="*/ 6413194 w 6530113"/>
              <a:gd name="connsiteY11" fmla="*/ 1094354 h 6858340"/>
              <a:gd name="connsiteX12" fmla="*/ 4217886 w 6530113"/>
              <a:gd name="connsiteY12" fmla="*/ 0 h 6858340"/>
              <a:gd name="connsiteX0" fmla="*/ 4217886 w 6530113"/>
              <a:gd name="connsiteY0" fmla="*/ 0 h 6858340"/>
              <a:gd name="connsiteX1" fmla="*/ 4336947 w 6530113"/>
              <a:gd name="connsiteY1" fmla="*/ 339 h 6858340"/>
              <a:gd name="connsiteX2" fmla="*/ 6512822 w 6530113"/>
              <a:gd name="connsiteY2" fmla="*/ 1102999 h 6858340"/>
              <a:gd name="connsiteX3" fmla="*/ 4732181 w 6530113"/>
              <a:gd name="connsiteY3" fmla="*/ 1905019 h 6858340"/>
              <a:gd name="connsiteX4" fmla="*/ 6524683 w 6530113"/>
              <a:gd name="connsiteY4" fmla="*/ 2790603 h 6858340"/>
              <a:gd name="connsiteX5" fmla="*/ 758412 w 6530113"/>
              <a:gd name="connsiteY5" fmla="*/ 5523480 h 6858340"/>
              <a:gd name="connsiteX6" fmla="*/ 2225799 w 6530113"/>
              <a:gd name="connsiteY6" fmla="*/ 6858340 h 6858340"/>
              <a:gd name="connsiteX7" fmla="*/ 1050142 w 6530113"/>
              <a:gd name="connsiteY7" fmla="*/ 6858340 h 6858340"/>
              <a:gd name="connsiteX8" fmla="*/ 76476 w 6530113"/>
              <a:gd name="connsiteY8" fmla="*/ 5682057 h 6858340"/>
              <a:gd name="connsiteX9" fmla="*/ 6293488 w 6530113"/>
              <a:gd name="connsiteY9" fmla="*/ 2801170 h 6858340"/>
              <a:gd name="connsiteX10" fmla="*/ 4575458 w 6530113"/>
              <a:gd name="connsiteY10" fmla="*/ 1935755 h 6858340"/>
              <a:gd name="connsiteX11" fmla="*/ 6413194 w 6530113"/>
              <a:gd name="connsiteY11" fmla="*/ 1094354 h 6858340"/>
              <a:gd name="connsiteX12" fmla="*/ 4217886 w 6530113"/>
              <a:gd name="connsiteY12" fmla="*/ 0 h 6858340"/>
              <a:gd name="connsiteX0" fmla="*/ 4217886 w 6530113"/>
              <a:gd name="connsiteY0" fmla="*/ 0 h 6858340"/>
              <a:gd name="connsiteX1" fmla="*/ 4336947 w 6530113"/>
              <a:gd name="connsiteY1" fmla="*/ 339 h 6858340"/>
              <a:gd name="connsiteX2" fmla="*/ 6512822 w 6530113"/>
              <a:gd name="connsiteY2" fmla="*/ 1102999 h 6858340"/>
              <a:gd name="connsiteX3" fmla="*/ 4732181 w 6530113"/>
              <a:gd name="connsiteY3" fmla="*/ 1905019 h 6858340"/>
              <a:gd name="connsiteX4" fmla="*/ 6524683 w 6530113"/>
              <a:gd name="connsiteY4" fmla="*/ 2790603 h 6858340"/>
              <a:gd name="connsiteX5" fmla="*/ 758412 w 6530113"/>
              <a:gd name="connsiteY5" fmla="*/ 5523480 h 6858340"/>
              <a:gd name="connsiteX6" fmla="*/ 2225799 w 6530113"/>
              <a:gd name="connsiteY6" fmla="*/ 6858340 h 6858340"/>
              <a:gd name="connsiteX7" fmla="*/ 1050142 w 6530113"/>
              <a:gd name="connsiteY7" fmla="*/ 6858340 h 6858340"/>
              <a:gd name="connsiteX8" fmla="*/ 76476 w 6530113"/>
              <a:gd name="connsiteY8" fmla="*/ 5682057 h 6858340"/>
              <a:gd name="connsiteX9" fmla="*/ 6293488 w 6530113"/>
              <a:gd name="connsiteY9" fmla="*/ 2801170 h 6858340"/>
              <a:gd name="connsiteX10" fmla="*/ 4575458 w 6530113"/>
              <a:gd name="connsiteY10" fmla="*/ 1935755 h 6858340"/>
              <a:gd name="connsiteX11" fmla="*/ 6413194 w 6530113"/>
              <a:gd name="connsiteY11" fmla="*/ 1094354 h 6858340"/>
              <a:gd name="connsiteX12" fmla="*/ 4217886 w 6530113"/>
              <a:gd name="connsiteY12" fmla="*/ 0 h 6858340"/>
              <a:gd name="connsiteX0" fmla="*/ 4217886 w 6530113"/>
              <a:gd name="connsiteY0" fmla="*/ 0 h 6858340"/>
              <a:gd name="connsiteX1" fmla="*/ 4336947 w 6530113"/>
              <a:gd name="connsiteY1" fmla="*/ 339 h 6858340"/>
              <a:gd name="connsiteX2" fmla="*/ 6512822 w 6530113"/>
              <a:gd name="connsiteY2" fmla="*/ 1102999 h 6858340"/>
              <a:gd name="connsiteX3" fmla="*/ 4732181 w 6530113"/>
              <a:gd name="connsiteY3" fmla="*/ 1905019 h 6858340"/>
              <a:gd name="connsiteX4" fmla="*/ 6524683 w 6530113"/>
              <a:gd name="connsiteY4" fmla="*/ 2790603 h 6858340"/>
              <a:gd name="connsiteX5" fmla="*/ 758412 w 6530113"/>
              <a:gd name="connsiteY5" fmla="*/ 5523480 h 6858340"/>
              <a:gd name="connsiteX6" fmla="*/ 2225799 w 6530113"/>
              <a:gd name="connsiteY6" fmla="*/ 6858340 h 6858340"/>
              <a:gd name="connsiteX7" fmla="*/ 1050142 w 6530113"/>
              <a:gd name="connsiteY7" fmla="*/ 6858340 h 6858340"/>
              <a:gd name="connsiteX8" fmla="*/ 76476 w 6530113"/>
              <a:gd name="connsiteY8" fmla="*/ 5682057 h 6858340"/>
              <a:gd name="connsiteX9" fmla="*/ 6293488 w 6530113"/>
              <a:gd name="connsiteY9" fmla="*/ 2801170 h 6858340"/>
              <a:gd name="connsiteX10" fmla="*/ 4575458 w 6530113"/>
              <a:gd name="connsiteY10" fmla="*/ 1935755 h 6858340"/>
              <a:gd name="connsiteX11" fmla="*/ 6413194 w 6530113"/>
              <a:gd name="connsiteY11" fmla="*/ 1094354 h 6858340"/>
              <a:gd name="connsiteX12" fmla="*/ 4217886 w 6530113"/>
              <a:gd name="connsiteY12" fmla="*/ 0 h 6858340"/>
              <a:gd name="connsiteX0" fmla="*/ 4217886 w 6530113"/>
              <a:gd name="connsiteY0" fmla="*/ 0 h 6858340"/>
              <a:gd name="connsiteX1" fmla="*/ 4336947 w 6530113"/>
              <a:gd name="connsiteY1" fmla="*/ 339 h 6858340"/>
              <a:gd name="connsiteX2" fmla="*/ 6512822 w 6530113"/>
              <a:gd name="connsiteY2" fmla="*/ 1102999 h 6858340"/>
              <a:gd name="connsiteX3" fmla="*/ 4732181 w 6530113"/>
              <a:gd name="connsiteY3" fmla="*/ 1905019 h 6858340"/>
              <a:gd name="connsiteX4" fmla="*/ 6524683 w 6530113"/>
              <a:gd name="connsiteY4" fmla="*/ 2790603 h 6858340"/>
              <a:gd name="connsiteX5" fmla="*/ 758412 w 6530113"/>
              <a:gd name="connsiteY5" fmla="*/ 5523480 h 6858340"/>
              <a:gd name="connsiteX6" fmla="*/ 2225799 w 6530113"/>
              <a:gd name="connsiteY6" fmla="*/ 6858340 h 6858340"/>
              <a:gd name="connsiteX7" fmla="*/ 1050142 w 6530113"/>
              <a:gd name="connsiteY7" fmla="*/ 6858340 h 6858340"/>
              <a:gd name="connsiteX8" fmla="*/ 76476 w 6530113"/>
              <a:gd name="connsiteY8" fmla="*/ 5682057 h 6858340"/>
              <a:gd name="connsiteX9" fmla="*/ 6293488 w 6530113"/>
              <a:gd name="connsiteY9" fmla="*/ 2801170 h 6858340"/>
              <a:gd name="connsiteX10" fmla="*/ 4575458 w 6530113"/>
              <a:gd name="connsiteY10" fmla="*/ 1935755 h 6858340"/>
              <a:gd name="connsiteX11" fmla="*/ 6413194 w 6530113"/>
              <a:gd name="connsiteY11" fmla="*/ 1094354 h 6858340"/>
              <a:gd name="connsiteX12" fmla="*/ 4217886 w 6530113"/>
              <a:gd name="connsiteY12" fmla="*/ 0 h 6858340"/>
              <a:gd name="connsiteX0" fmla="*/ 4217886 w 6530113"/>
              <a:gd name="connsiteY0" fmla="*/ 0 h 6858340"/>
              <a:gd name="connsiteX1" fmla="*/ 4336947 w 6530113"/>
              <a:gd name="connsiteY1" fmla="*/ 339 h 6858340"/>
              <a:gd name="connsiteX2" fmla="*/ 6512822 w 6530113"/>
              <a:gd name="connsiteY2" fmla="*/ 1102999 h 6858340"/>
              <a:gd name="connsiteX3" fmla="*/ 4732181 w 6530113"/>
              <a:gd name="connsiteY3" fmla="*/ 1905019 h 6858340"/>
              <a:gd name="connsiteX4" fmla="*/ 6524683 w 6530113"/>
              <a:gd name="connsiteY4" fmla="*/ 2790603 h 6858340"/>
              <a:gd name="connsiteX5" fmla="*/ 758412 w 6530113"/>
              <a:gd name="connsiteY5" fmla="*/ 5523480 h 6858340"/>
              <a:gd name="connsiteX6" fmla="*/ 2225799 w 6530113"/>
              <a:gd name="connsiteY6" fmla="*/ 6858340 h 6858340"/>
              <a:gd name="connsiteX7" fmla="*/ 1050142 w 6530113"/>
              <a:gd name="connsiteY7" fmla="*/ 6858340 h 6858340"/>
              <a:gd name="connsiteX8" fmla="*/ 76476 w 6530113"/>
              <a:gd name="connsiteY8" fmla="*/ 5682057 h 6858340"/>
              <a:gd name="connsiteX9" fmla="*/ 6293488 w 6530113"/>
              <a:gd name="connsiteY9" fmla="*/ 2801170 h 6858340"/>
              <a:gd name="connsiteX10" fmla="*/ 4575458 w 6530113"/>
              <a:gd name="connsiteY10" fmla="*/ 1935755 h 6858340"/>
              <a:gd name="connsiteX11" fmla="*/ 6413194 w 6530113"/>
              <a:gd name="connsiteY11" fmla="*/ 1094354 h 6858340"/>
              <a:gd name="connsiteX12" fmla="*/ 4217886 w 6530113"/>
              <a:gd name="connsiteY12" fmla="*/ 0 h 6858340"/>
              <a:gd name="connsiteX0" fmla="*/ 4217886 w 6530113"/>
              <a:gd name="connsiteY0" fmla="*/ 0 h 6858340"/>
              <a:gd name="connsiteX1" fmla="*/ 4336947 w 6530113"/>
              <a:gd name="connsiteY1" fmla="*/ 339 h 6858340"/>
              <a:gd name="connsiteX2" fmla="*/ 6512822 w 6530113"/>
              <a:gd name="connsiteY2" fmla="*/ 1102999 h 6858340"/>
              <a:gd name="connsiteX3" fmla="*/ 4732181 w 6530113"/>
              <a:gd name="connsiteY3" fmla="*/ 1905019 h 6858340"/>
              <a:gd name="connsiteX4" fmla="*/ 6524683 w 6530113"/>
              <a:gd name="connsiteY4" fmla="*/ 2790603 h 6858340"/>
              <a:gd name="connsiteX5" fmla="*/ 758412 w 6530113"/>
              <a:gd name="connsiteY5" fmla="*/ 5523480 h 6858340"/>
              <a:gd name="connsiteX6" fmla="*/ 2225799 w 6530113"/>
              <a:gd name="connsiteY6" fmla="*/ 6858340 h 6858340"/>
              <a:gd name="connsiteX7" fmla="*/ 1050142 w 6530113"/>
              <a:gd name="connsiteY7" fmla="*/ 6858340 h 6858340"/>
              <a:gd name="connsiteX8" fmla="*/ 76476 w 6530113"/>
              <a:gd name="connsiteY8" fmla="*/ 5682057 h 6858340"/>
              <a:gd name="connsiteX9" fmla="*/ 6293488 w 6530113"/>
              <a:gd name="connsiteY9" fmla="*/ 2801170 h 6858340"/>
              <a:gd name="connsiteX10" fmla="*/ 4575458 w 6530113"/>
              <a:gd name="connsiteY10" fmla="*/ 1935755 h 6858340"/>
              <a:gd name="connsiteX11" fmla="*/ 6413194 w 6530113"/>
              <a:gd name="connsiteY11" fmla="*/ 1094354 h 6858340"/>
              <a:gd name="connsiteX12" fmla="*/ 4217886 w 6530113"/>
              <a:gd name="connsiteY12" fmla="*/ 0 h 6858340"/>
              <a:gd name="connsiteX0" fmla="*/ 4217886 w 6524683"/>
              <a:gd name="connsiteY0" fmla="*/ 0 h 6858340"/>
              <a:gd name="connsiteX1" fmla="*/ 4336947 w 6524683"/>
              <a:gd name="connsiteY1" fmla="*/ 339 h 6858340"/>
              <a:gd name="connsiteX2" fmla="*/ 6512822 w 6524683"/>
              <a:gd name="connsiteY2" fmla="*/ 1102999 h 6858340"/>
              <a:gd name="connsiteX3" fmla="*/ 4732181 w 6524683"/>
              <a:gd name="connsiteY3" fmla="*/ 1905019 h 6858340"/>
              <a:gd name="connsiteX4" fmla="*/ 6524683 w 6524683"/>
              <a:gd name="connsiteY4" fmla="*/ 2790603 h 6858340"/>
              <a:gd name="connsiteX5" fmla="*/ 758412 w 6524683"/>
              <a:gd name="connsiteY5" fmla="*/ 5523480 h 6858340"/>
              <a:gd name="connsiteX6" fmla="*/ 2225799 w 6524683"/>
              <a:gd name="connsiteY6" fmla="*/ 6858340 h 6858340"/>
              <a:gd name="connsiteX7" fmla="*/ 1050142 w 6524683"/>
              <a:gd name="connsiteY7" fmla="*/ 6858340 h 6858340"/>
              <a:gd name="connsiteX8" fmla="*/ 76476 w 6524683"/>
              <a:gd name="connsiteY8" fmla="*/ 5682057 h 6858340"/>
              <a:gd name="connsiteX9" fmla="*/ 6293488 w 6524683"/>
              <a:gd name="connsiteY9" fmla="*/ 2801170 h 6858340"/>
              <a:gd name="connsiteX10" fmla="*/ 4575458 w 6524683"/>
              <a:gd name="connsiteY10" fmla="*/ 1935755 h 6858340"/>
              <a:gd name="connsiteX11" fmla="*/ 6413194 w 6524683"/>
              <a:gd name="connsiteY11" fmla="*/ 1094354 h 6858340"/>
              <a:gd name="connsiteX12" fmla="*/ 4217886 w 6524683"/>
              <a:gd name="connsiteY12" fmla="*/ 0 h 6858340"/>
              <a:gd name="connsiteX0" fmla="*/ 4217886 w 6525856"/>
              <a:gd name="connsiteY0" fmla="*/ 0 h 6858340"/>
              <a:gd name="connsiteX1" fmla="*/ 4336947 w 6525856"/>
              <a:gd name="connsiteY1" fmla="*/ 339 h 6858340"/>
              <a:gd name="connsiteX2" fmla="*/ 6512822 w 6525856"/>
              <a:gd name="connsiteY2" fmla="*/ 1102999 h 6858340"/>
              <a:gd name="connsiteX3" fmla="*/ 4732181 w 6525856"/>
              <a:gd name="connsiteY3" fmla="*/ 1905019 h 6858340"/>
              <a:gd name="connsiteX4" fmla="*/ 6524683 w 6525856"/>
              <a:gd name="connsiteY4" fmla="*/ 2790603 h 6858340"/>
              <a:gd name="connsiteX5" fmla="*/ 758412 w 6525856"/>
              <a:gd name="connsiteY5" fmla="*/ 5523480 h 6858340"/>
              <a:gd name="connsiteX6" fmla="*/ 2225799 w 6525856"/>
              <a:gd name="connsiteY6" fmla="*/ 6858340 h 6858340"/>
              <a:gd name="connsiteX7" fmla="*/ 1050142 w 6525856"/>
              <a:gd name="connsiteY7" fmla="*/ 6858340 h 6858340"/>
              <a:gd name="connsiteX8" fmla="*/ 76476 w 6525856"/>
              <a:gd name="connsiteY8" fmla="*/ 5682057 h 6858340"/>
              <a:gd name="connsiteX9" fmla="*/ 6293488 w 6525856"/>
              <a:gd name="connsiteY9" fmla="*/ 2801170 h 6858340"/>
              <a:gd name="connsiteX10" fmla="*/ 4575458 w 6525856"/>
              <a:gd name="connsiteY10" fmla="*/ 1935755 h 6858340"/>
              <a:gd name="connsiteX11" fmla="*/ 6413194 w 6525856"/>
              <a:gd name="connsiteY11" fmla="*/ 1094354 h 6858340"/>
              <a:gd name="connsiteX12" fmla="*/ 4217886 w 6525856"/>
              <a:gd name="connsiteY12" fmla="*/ 0 h 6858340"/>
              <a:gd name="connsiteX0" fmla="*/ 4217886 w 6525856"/>
              <a:gd name="connsiteY0" fmla="*/ 0 h 6858340"/>
              <a:gd name="connsiteX1" fmla="*/ 4336947 w 6525856"/>
              <a:gd name="connsiteY1" fmla="*/ 339 h 6858340"/>
              <a:gd name="connsiteX2" fmla="*/ 6512822 w 6525856"/>
              <a:gd name="connsiteY2" fmla="*/ 1102999 h 6858340"/>
              <a:gd name="connsiteX3" fmla="*/ 4732181 w 6525856"/>
              <a:gd name="connsiteY3" fmla="*/ 1905019 h 6858340"/>
              <a:gd name="connsiteX4" fmla="*/ 6524683 w 6525856"/>
              <a:gd name="connsiteY4" fmla="*/ 2790603 h 6858340"/>
              <a:gd name="connsiteX5" fmla="*/ 758412 w 6525856"/>
              <a:gd name="connsiteY5" fmla="*/ 5523480 h 6858340"/>
              <a:gd name="connsiteX6" fmla="*/ 2225799 w 6525856"/>
              <a:gd name="connsiteY6" fmla="*/ 6858340 h 6858340"/>
              <a:gd name="connsiteX7" fmla="*/ 1050142 w 6525856"/>
              <a:gd name="connsiteY7" fmla="*/ 6858340 h 6858340"/>
              <a:gd name="connsiteX8" fmla="*/ 76476 w 6525856"/>
              <a:gd name="connsiteY8" fmla="*/ 5682057 h 6858340"/>
              <a:gd name="connsiteX9" fmla="*/ 6293488 w 6525856"/>
              <a:gd name="connsiteY9" fmla="*/ 2801170 h 6858340"/>
              <a:gd name="connsiteX10" fmla="*/ 4575458 w 6525856"/>
              <a:gd name="connsiteY10" fmla="*/ 1935755 h 6858340"/>
              <a:gd name="connsiteX11" fmla="*/ 6413194 w 6525856"/>
              <a:gd name="connsiteY11" fmla="*/ 1094354 h 6858340"/>
              <a:gd name="connsiteX12" fmla="*/ 4217886 w 6525856"/>
              <a:gd name="connsiteY12" fmla="*/ 0 h 6858340"/>
              <a:gd name="connsiteX0" fmla="*/ 4217886 w 6525856"/>
              <a:gd name="connsiteY0" fmla="*/ 0 h 6858340"/>
              <a:gd name="connsiteX1" fmla="*/ 4336947 w 6525856"/>
              <a:gd name="connsiteY1" fmla="*/ 339 h 6858340"/>
              <a:gd name="connsiteX2" fmla="*/ 6512822 w 6525856"/>
              <a:gd name="connsiteY2" fmla="*/ 1102999 h 6858340"/>
              <a:gd name="connsiteX3" fmla="*/ 4732181 w 6525856"/>
              <a:gd name="connsiteY3" fmla="*/ 1905019 h 6858340"/>
              <a:gd name="connsiteX4" fmla="*/ 6524683 w 6525856"/>
              <a:gd name="connsiteY4" fmla="*/ 2790603 h 6858340"/>
              <a:gd name="connsiteX5" fmla="*/ 758412 w 6525856"/>
              <a:gd name="connsiteY5" fmla="*/ 5523480 h 6858340"/>
              <a:gd name="connsiteX6" fmla="*/ 2225799 w 6525856"/>
              <a:gd name="connsiteY6" fmla="*/ 6858340 h 6858340"/>
              <a:gd name="connsiteX7" fmla="*/ 1050142 w 6525856"/>
              <a:gd name="connsiteY7" fmla="*/ 6858340 h 6858340"/>
              <a:gd name="connsiteX8" fmla="*/ 76476 w 6525856"/>
              <a:gd name="connsiteY8" fmla="*/ 5682057 h 6858340"/>
              <a:gd name="connsiteX9" fmla="*/ 6293488 w 6525856"/>
              <a:gd name="connsiteY9" fmla="*/ 2801170 h 6858340"/>
              <a:gd name="connsiteX10" fmla="*/ 4575458 w 6525856"/>
              <a:gd name="connsiteY10" fmla="*/ 1935755 h 6858340"/>
              <a:gd name="connsiteX11" fmla="*/ 6413194 w 6525856"/>
              <a:gd name="connsiteY11" fmla="*/ 1094354 h 6858340"/>
              <a:gd name="connsiteX12" fmla="*/ 4217886 w 6525856"/>
              <a:gd name="connsiteY12" fmla="*/ 0 h 6858340"/>
              <a:gd name="connsiteX0" fmla="*/ 4217886 w 6525856"/>
              <a:gd name="connsiteY0" fmla="*/ 0 h 6858340"/>
              <a:gd name="connsiteX1" fmla="*/ 4336947 w 6525856"/>
              <a:gd name="connsiteY1" fmla="*/ 339 h 6858340"/>
              <a:gd name="connsiteX2" fmla="*/ 6512822 w 6525856"/>
              <a:gd name="connsiteY2" fmla="*/ 1102999 h 6858340"/>
              <a:gd name="connsiteX3" fmla="*/ 4732181 w 6525856"/>
              <a:gd name="connsiteY3" fmla="*/ 1905019 h 6858340"/>
              <a:gd name="connsiteX4" fmla="*/ 6524683 w 6525856"/>
              <a:gd name="connsiteY4" fmla="*/ 2790603 h 6858340"/>
              <a:gd name="connsiteX5" fmla="*/ 758412 w 6525856"/>
              <a:gd name="connsiteY5" fmla="*/ 5523480 h 6858340"/>
              <a:gd name="connsiteX6" fmla="*/ 2225799 w 6525856"/>
              <a:gd name="connsiteY6" fmla="*/ 6858340 h 6858340"/>
              <a:gd name="connsiteX7" fmla="*/ 1050142 w 6525856"/>
              <a:gd name="connsiteY7" fmla="*/ 6858340 h 6858340"/>
              <a:gd name="connsiteX8" fmla="*/ 76476 w 6525856"/>
              <a:gd name="connsiteY8" fmla="*/ 5682057 h 6858340"/>
              <a:gd name="connsiteX9" fmla="*/ 6293488 w 6525856"/>
              <a:gd name="connsiteY9" fmla="*/ 2801170 h 6858340"/>
              <a:gd name="connsiteX10" fmla="*/ 4575458 w 6525856"/>
              <a:gd name="connsiteY10" fmla="*/ 1935755 h 6858340"/>
              <a:gd name="connsiteX11" fmla="*/ 6413194 w 6525856"/>
              <a:gd name="connsiteY11" fmla="*/ 1094354 h 6858340"/>
              <a:gd name="connsiteX12" fmla="*/ 4217886 w 6525856"/>
              <a:gd name="connsiteY12" fmla="*/ 0 h 6858340"/>
              <a:gd name="connsiteX0" fmla="*/ 4217886 w 6525856"/>
              <a:gd name="connsiteY0" fmla="*/ 0 h 6858340"/>
              <a:gd name="connsiteX1" fmla="*/ 4336947 w 6525856"/>
              <a:gd name="connsiteY1" fmla="*/ 339 h 6858340"/>
              <a:gd name="connsiteX2" fmla="*/ 6512822 w 6525856"/>
              <a:gd name="connsiteY2" fmla="*/ 1102999 h 6858340"/>
              <a:gd name="connsiteX3" fmla="*/ 4732181 w 6525856"/>
              <a:gd name="connsiteY3" fmla="*/ 1905019 h 6858340"/>
              <a:gd name="connsiteX4" fmla="*/ 6524683 w 6525856"/>
              <a:gd name="connsiteY4" fmla="*/ 2790603 h 6858340"/>
              <a:gd name="connsiteX5" fmla="*/ 758412 w 6525856"/>
              <a:gd name="connsiteY5" fmla="*/ 5523480 h 6858340"/>
              <a:gd name="connsiteX6" fmla="*/ 2225799 w 6525856"/>
              <a:gd name="connsiteY6" fmla="*/ 6858340 h 6858340"/>
              <a:gd name="connsiteX7" fmla="*/ 1050142 w 6525856"/>
              <a:gd name="connsiteY7" fmla="*/ 6858340 h 6858340"/>
              <a:gd name="connsiteX8" fmla="*/ 76476 w 6525856"/>
              <a:gd name="connsiteY8" fmla="*/ 5682057 h 6858340"/>
              <a:gd name="connsiteX9" fmla="*/ 6293488 w 6525856"/>
              <a:gd name="connsiteY9" fmla="*/ 2801170 h 6858340"/>
              <a:gd name="connsiteX10" fmla="*/ 4575458 w 6525856"/>
              <a:gd name="connsiteY10" fmla="*/ 1935755 h 6858340"/>
              <a:gd name="connsiteX11" fmla="*/ 6413194 w 6525856"/>
              <a:gd name="connsiteY11" fmla="*/ 1094354 h 6858340"/>
              <a:gd name="connsiteX12" fmla="*/ 4217886 w 6525856"/>
              <a:gd name="connsiteY12" fmla="*/ 0 h 6858340"/>
              <a:gd name="connsiteX0" fmla="*/ 4173979 w 6481949"/>
              <a:gd name="connsiteY0" fmla="*/ 0 h 6858340"/>
              <a:gd name="connsiteX1" fmla="*/ 4293040 w 6481949"/>
              <a:gd name="connsiteY1" fmla="*/ 339 h 6858340"/>
              <a:gd name="connsiteX2" fmla="*/ 6468915 w 6481949"/>
              <a:gd name="connsiteY2" fmla="*/ 1102999 h 6858340"/>
              <a:gd name="connsiteX3" fmla="*/ 4688274 w 6481949"/>
              <a:gd name="connsiteY3" fmla="*/ 1905019 h 6858340"/>
              <a:gd name="connsiteX4" fmla="*/ 6480776 w 6481949"/>
              <a:gd name="connsiteY4" fmla="*/ 2790603 h 6858340"/>
              <a:gd name="connsiteX5" fmla="*/ 714505 w 6481949"/>
              <a:gd name="connsiteY5" fmla="*/ 5523480 h 6858340"/>
              <a:gd name="connsiteX6" fmla="*/ 2181892 w 6481949"/>
              <a:gd name="connsiteY6" fmla="*/ 6858340 h 6858340"/>
              <a:gd name="connsiteX7" fmla="*/ 1006235 w 6481949"/>
              <a:gd name="connsiteY7" fmla="*/ 6858340 h 6858340"/>
              <a:gd name="connsiteX8" fmla="*/ 32569 w 6481949"/>
              <a:gd name="connsiteY8" fmla="*/ 5682057 h 6858340"/>
              <a:gd name="connsiteX9" fmla="*/ 6249581 w 6481949"/>
              <a:gd name="connsiteY9" fmla="*/ 2801170 h 6858340"/>
              <a:gd name="connsiteX10" fmla="*/ 4531551 w 6481949"/>
              <a:gd name="connsiteY10" fmla="*/ 1935755 h 6858340"/>
              <a:gd name="connsiteX11" fmla="*/ 6369287 w 6481949"/>
              <a:gd name="connsiteY11" fmla="*/ 1094354 h 6858340"/>
              <a:gd name="connsiteX12" fmla="*/ 4173979 w 6481949"/>
              <a:gd name="connsiteY12" fmla="*/ 0 h 6858340"/>
              <a:gd name="connsiteX0" fmla="*/ 4174197 w 6482167"/>
              <a:gd name="connsiteY0" fmla="*/ 0 h 6858340"/>
              <a:gd name="connsiteX1" fmla="*/ 4293258 w 6482167"/>
              <a:gd name="connsiteY1" fmla="*/ 339 h 6858340"/>
              <a:gd name="connsiteX2" fmla="*/ 6469133 w 6482167"/>
              <a:gd name="connsiteY2" fmla="*/ 1102999 h 6858340"/>
              <a:gd name="connsiteX3" fmla="*/ 4688492 w 6482167"/>
              <a:gd name="connsiteY3" fmla="*/ 1905019 h 6858340"/>
              <a:gd name="connsiteX4" fmla="*/ 6480994 w 6482167"/>
              <a:gd name="connsiteY4" fmla="*/ 2790603 h 6858340"/>
              <a:gd name="connsiteX5" fmla="*/ 714723 w 6482167"/>
              <a:gd name="connsiteY5" fmla="*/ 5523480 h 6858340"/>
              <a:gd name="connsiteX6" fmla="*/ 2182110 w 6482167"/>
              <a:gd name="connsiteY6" fmla="*/ 6858340 h 6858340"/>
              <a:gd name="connsiteX7" fmla="*/ 1006453 w 6482167"/>
              <a:gd name="connsiteY7" fmla="*/ 6858340 h 6858340"/>
              <a:gd name="connsiteX8" fmla="*/ 32787 w 6482167"/>
              <a:gd name="connsiteY8" fmla="*/ 5682057 h 6858340"/>
              <a:gd name="connsiteX9" fmla="*/ 6203506 w 6482167"/>
              <a:gd name="connsiteY9" fmla="*/ 2801170 h 6858340"/>
              <a:gd name="connsiteX10" fmla="*/ 4531769 w 6482167"/>
              <a:gd name="connsiteY10" fmla="*/ 1935755 h 6858340"/>
              <a:gd name="connsiteX11" fmla="*/ 6369505 w 6482167"/>
              <a:gd name="connsiteY11" fmla="*/ 1094354 h 6858340"/>
              <a:gd name="connsiteX12" fmla="*/ 4174197 w 6482167"/>
              <a:gd name="connsiteY12" fmla="*/ 0 h 6858340"/>
              <a:gd name="connsiteX0" fmla="*/ 4174197 w 6482167"/>
              <a:gd name="connsiteY0" fmla="*/ 0 h 6858340"/>
              <a:gd name="connsiteX1" fmla="*/ 4293258 w 6482167"/>
              <a:gd name="connsiteY1" fmla="*/ 339 h 6858340"/>
              <a:gd name="connsiteX2" fmla="*/ 6469133 w 6482167"/>
              <a:gd name="connsiteY2" fmla="*/ 1102999 h 6858340"/>
              <a:gd name="connsiteX3" fmla="*/ 4765646 w 6482167"/>
              <a:gd name="connsiteY3" fmla="*/ 1884237 h 6858340"/>
              <a:gd name="connsiteX4" fmla="*/ 6480994 w 6482167"/>
              <a:gd name="connsiteY4" fmla="*/ 2790603 h 6858340"/>
              <a:gd name="connsiteX5" fmla="*/ 714723 w 6482167"/>
              <a:gd name="connsiteY5" fmla="*/ 5523480 h 6858340"/>
              <a:gd name="connsiteX6" fmla="*/ 2182110 w 6482167"/>
              <a:gd name="connsiteY6" fmla="*/ 6858340 h 6858340"/>
              <a:gd name="connsiteX7" fmla="*/ 1006453 w 6482167"/>
              <a:gd name="connsiteY7" fmla="*/ 6858340 h 6858340"/>
              <a:gd name="connsiteX8" fmla="*/ 32787 w 6482167"/>
              <a:gd name="connsiteY8" fmla="*/ 5682057 h 6858340"/>
              <a:gd name="connsiteX9" fmla="*/ 6203506 w 6482167"/>
              <a:gd name="connsiteY9" fmla="*/ 2801170 h 6858340"/>
              <a:gd name="connsiteX10" fmla="*/ 4531769 w 6482167"/>
              <a:gd name="connsiteY10" fmla="*/ 1935755 h 6858340"/>
              <a:gd name="connsiteX11" fmla="*/ 6369505 w 6482167"/>
              <a:gd name="connsiteY11" fmla="*/ 1094354 h 6858340"/>
              <a:gd name="connsiteX12" fmla="*/ 4174197 w 6482167"/>
              <a:gd name="connsiteY12" fmla="*/ 0 h 6858340"/>
              <a:gd name="connsiteX0" fmla="*/ 4174052 w 6482022"/>
              <a:gd name="connsiteY0" fmla="*/ 0 h 6858340"/>
              <a:gd name="connsiteX1" fmla="*/ 4293113 w 6482022"/>
              <a:gd name="connsiteY1" fmla="*/ 339 h 6858340"/>
              <a:gd name="connsiteX2" fmla="*/ 6468988 w 6482022"/>
              <a:gd name="connsiteY2" fmla="*/ 1102999 h 6858340"/>
              <a:gd name="connsiteX3" fmla="*/ 4765501 w 6482022"/>
              <a:gd name="connsiteY3" fmla="*/ 1884237 h 6858340"/>
              <a:gd name="connsiteX4" fmla="*/ 6480849 w 6482022"/>
              <a:gd name="connsiteY4" fmla="*/ 2790603 h 6858340"/>
              <a:gd name="connsiteX5" fmla="*/ 714578 w 6482022"/>
              <a:gd name="connsiteY5" fmla="*/ 5523480 h 6858340"/>
              <a:gd name="connsiteX6" fmla="*/ 2181965 w 6482022"/>
              <a:gd name="connsiteY6" fmla="*/ 6858340 h 6858340"/>
              <a:gd name="connsiteX7" fmla="*/ 1006308 w 6482022"/>
              <a:gd name="connsiteY7" fmla="*/ 6858340 h 6858340"/>
              <a:gd name="connsiteX8" fmla="*/ 32642 w 6482022"/>
              <a:gd name="connsiteY8" fmla="*/ 5682057 h 6858340"/>
              <a:gd name="connsiteX9" fmla="*/ 6234224 w 6482022"/>
              <a:gd name="connsiteY9" fmla="*/ 2759607 h 6858340"/>
              <a:gd name="connsiteX10" fmla="*/ 4531624 w 6482022"/>
              <a:gd name="connsiteY10" fmla="*/ 1935755 h 6858340"/>
              <a:gd name="connsiteX11" fmla="*/ 6369360 w 6482022"/>
              <a:gd name="connsiteY11" fmla="*/ 1094354 h 6858340"/>
              <a:gd name="connsiteX12" fmla="*/ 4174052 w 6482022"/>
              <a:gd name="connsiteY12" fmla="*/ 0 h 6858340"/>
              <a:gd name="connsiteX0" fmla="*/ 4174052 w 6480849"/>
              <a:gd name="connsiteY0" fmla="*/ 0 h 6858340"/>
              <a:gd name="connsiteX1" fmla="*/ 4293113 w 6480849"/>
              <a:gd name="connsiteY1" fmla="*/ 339 h 6858340"/>
              <a:gd name="connsiteX2" fmla="*/ 6468988 w 6480849"/>
              <a:gd name="connsiteY2" fmla="*/ 1102999 h 6858340"/>
              <a:gd name="connsiteX3" fmla="*/ 4765501 w 6480849"/>
              <a:gd name="connsiteY3" fmla="*/ 1884237 h 6858340"/>
              <a:gd name="connsiteX4" fmla="*/ 6480849 w 6480849"/>
              <a:gd name="connsiteY4" fmla="*/ 2790603 h 6858340"/>
              <a:gd name="connsiteX5" fmla="*/ 714578 w 6480849"/>
              <a:gd name="connsiteY5" fmla="*/ 5523480 h 6858340"/>
              <a:gd name="connsiteX6" fmla="*/ 2181965 w 6480849"/>
              <a:gd name="connsiteY6" fmla="*/ 6858340 h 6858340"/>
              <a:gd name="connsiteX7" fmla="*/ 1006308 w 6480849"/>
              <a:gd name="connsiteY7" fmla="*/ 6858340 h 6858340"/>
              <a:gd name="connsiteX8" fmla="*/ 32642 w 6480849"/>
              <a:gd name="connsiteY8" fmla="*/ 5682057 h 6858340"/>
              <a:gd name="connsiteX9" fmla="*/ 6234224 w 6480849"/>
              <a:gd name="connsiteY9" fmla="*/ 2759607 h 6858340"/>
              <a:gd name="connsiteX10" fmla="*/ 4531624 w 6480849"/>
              <a:gd name="connsiteY10" fmla="*/ 1935755 h 6858340"/>
              <a:gd name="connsiteX11" fmla="*/ 6369360 w 6480849"/>
              <a:gd name="connsiteY11" fmla="*/ 1094354 h 6858340"/>
              <a:gd name="connsiteX12" fmla="*/ 4174052 w 6480849"/>
              <a:gd name="connsiteY12" fmla="*/ 0 h 6858340"/>
              <a:gd name="connsiteX0" fmla="*/ 4174052 w 6480849"/>
              <a:gd name="connsiteY0" fmla="*/ 0 h 6858340"/>
              <a:gd name="connsiteX1" fmla="*/ 4293113 w 6480849"/>
              <a:gd name="connsiteY1" fmla="*/ 339 h 6858340"/>
              <a:gd name="connsiteX2" fmla="*/ 6468988 w 6480849"/>
              <a:gd name="connsiteY2" fmla="*/ 1102999 h 6858340"/>
              <a:gd name="connsiteX3" fmla="*/ 4765501 w 6480849"/>
              <a:gd name="connsiteY3" fmla="*/ 1884237 h 6858340"/>
              <a:gd name="connsiteX4" fmla="*/ 6480849 w 6480849"/>
              <a:gd name="connsiteY4" fmla="*/ 2790603 h 6858340"/>
              <a:gd name="connsiteX5" fmla="*/ 714578 w 6480849"/>
              <a:gd name="connsiteY5" fmla="*/ 5523480 h 6858340"/>
              <a:gd name="connsiteX6" fmla="*/ 2181965 w 6480849"/>
              <a:gd name="connsiteY6" fmla="*/ 6858340 h 6858340"/>
              <a:gd name="connsiteX7" fmla="*/ 1006308 w 6480849"/>
              <a:gd name="connsiteY7" fmla="*/ 6858340 h 6858340"/>
              <a:gd name="connsiteX8" fmla="*/ 32642 w 6480849"/>
              <a:gd name="connsiteY8" fmla="*/ 5682057 h 6858340"/>
              <a:gd name="connsiteX9" fmla="*/ 6234224 w 6480849"/>
              <a:gd name="connsiteY9" fmla="*/ 2759607 h 6858340"/>
              <a:gd name="connsiteX10" fmla="*/ 4531624 w 6480849"/>
              <a:gd name="connsiteY10" fmla="*/ 1935755 h 6858340"/>
              <a:gd name="connsiteX11" fmla="*/ 6369360 w 6480849"/>
              <a:gd name="connsiteY11" fmla="*/ 1094354 h 6858340"/>
              <a:gd name="connsiteX12" fmla="*/ 4174052 w 6480849"/>
              <a:gd name="connsiteY12" fmla="*/ 0 h 6858340"/>
              <a:gd name="connsiteX0" fmla="*/ 4174052 w 6484234"/>
              <a:gd name="connsiteY0" fmla="*/ 0 h 6858340"/>
              <a:gd name="connsiteX1" fmla="*/ 4293113 w 6484234"/>
              <a:gd name="connsiteY1" fmla="*/ 339 h 6858340"/>
              <a:gd name="connsiteX2" fmla="*/ 6468988 w 6484234"/>
              <a:gd name="connsiteY2" fmla="*/ 1102999 h 6858340"/>
              <a:gd name="connsiteX3" fmla="*/ 4765501 w 6484234"/>
              <a:gd name="connsiteY3" fmla="*/ 1884237 h 6858340"/>
              <a:gd name="connsiteX4" fmla="*/ 6480849 w 6484234"/>
              <a:gd name="connsiteY4" fmla="*/ 2790603 h 6858340"/>
              <a:gd name="connsiteX5" fmla="*/ 714578 w 6484234"/>
              <a:gd name="connsiteY5" fmla="*/ 5523480 h 6858340"/>
              <a:gd name="connsiteX6" fmla="*/ 2181965 w 6484234"/>
              <a:gd name="connsiteY6" fmla="*/ 6858340 h 6858340"/>
              <a:gd name="connsiteX7" fmla="*/ 1006308 w 6484234"/>
              <a:gd name="connsiteY7" fmla="*/ 6858340 h 6858340"/>
              <a:gd name="connsiteX8" fmla="*/ 32642 w 6484234"/>
              <a:gd name="connsiteY8" fmla="*/ 5682057 h 6858340"/>
              <a:gd name="connsiteX9" fmla="*/ 6234224 w 6484234"/>
              <a:gd name="connsiteY9" fmla="*/ 2759607 h 6858340"/>
              <a:gd name="connsiteX10" fmla="*/ 4531624 w 6484234"/>
              <a:gd name="connsiteY10" fmla="*/ 1935755 h 6858340"/>
              <a:gd name="connsiteX11" fmla="*/ 6369360 w 6484234"/>
              <a:gd name="connsiteY11" fmla="*/ 1094354 h 6858340"/>
              <a:gd name="connsiteX12" fmla="*/ 4174052 w 6484234"/>
              <a:gd name="connsiteY12" fmla="*/ 0 h 6858340"/>
              <a:gd name="connsiteX0" fmla="*/ 4174052 w 6484234"/>
              <a:gd name="connsiteY0" fmla="*/ 0 h 6858340"/>
              <a:gd name="connsiteX1" fmla="*/ 4293113 w 6484234"/>
              <a:gd name="connsiteY1" fmla="*/ 339 h 6858340"/>
              <a:gd name="connsiteX2" fmla="*/ 6468988 w 6484234"/>
              <a:gd name="connsiteY2" fmla="*/ 1102999 h 6858340"/>
              <a:gd name="connsiteX3" fmla="*/ 4708921 w 6484234"/>
              <a:gd name="connsiteY3" fmla="*/ 1874712 h 6858340"/>
              <a:gd name="connsiteX4" fmla="*/ 6480849 w 6484234"/>
              <a:gd name="connsiteY4" fmla="*/ 2790603 h 6858340"/>
              <a:gd name="connsiteX5" fmla="*/ 714578 w 6484234"/>
              <a:gd name="connsiteY5" fmla="*/ 5523480 h 6858340"/>
              <a:gd name="connsiteX6" fmla="*/ 2181965 w 6484234"/>
              <a:gd name="connsiteY6" fmla="*/ 6858340 h 6858340"/>
              <a:gd name="connsiteX7" fmla="*/ 1006308 w 6484234"/>
              <a:gd name="connsiteY7" fmla="*/ 6858340 h 6858340"/>
              <a:gd name="connsiteX8" fmla="*/ 32642 w 6484234"/>
              <a:gd name="connsiteY8" fmla="*/ 5682057 h 6858340"/>
              <a:gd name="connsiteX9" fmla="*/ 6234224 w 6484234"/>
              <a:gd name="connsiteY9" fmla="*/ 2759607 h 6858340"/>
              <a:gd name="connsiteX10" fmla="*/ 4531624 w 6484234"/>
              <a:gd name="connsiteY10" fmla="*/ 1935755 h 6858340"/>
              <a:gd name="connsiteX11" fmla="*/ 6369360 w 6484234"/>
              <a:gd name="connsiteY11" fmla="*/ 1094354 h 6858340"/>
              <a:gd name="connsiteX12" fmla="*/ 4174052 w 6484234"/>
              <a:gd name="connsiteY12" fmla="*/ 0 h 6858340"/>
              <a:gd name="connsiteX0" fmla="*/ 4174052 w 6484234"/>
              <a:gd name="connsiteY0" fmla="*/ 0 h 6858340"/>
              <a:gd name="connsiteX1" fmla="*/ 4293113 w 6484234"/>
              <a:gd name="connsiteY1" fmla="*/ 339 h 6858340"/>
              <a:gd name="connsiteX2" fmla="*/ 6468988 w 6484234"/>
              <a:gd name="connsiteY2" fmla="*/ 1102999 h 6858340"/>
              <a:gd name="connsiteX3" fmla="*/ 4708921 w 6484234"/>
              <a:gd name="connsiteY3" fmla="*/ 1874712 h 6858340"/>
              <a:gd name="connsiteX4" fmla="*/ 6480849 w 6484234"/>
              <a:gd name="connsiteY4" fmla="*/ 2790603 h 6858340"/>
              <a:gd name="connsiteX5" fmla="*/ 714578 w 6484234"/>
              <a:gd name="connsiteY5" fmla="*/ 5523480 h 6858340"/>
              <a:gd name="connsiteX6" fmla="*/ 2181965 w 6484234"/>
              <a:gd name="connsiteY6" fmla="*/ 6858340 h 6858340"/>
              <a:gd name="connsiteX7" fmla="*/ 1006308 w 6484234"/>
              <a:gd name="connsiteY7" fmla="*/ 6858340 h 6858340"/>
              <a:gd name="connsiteX8" fmla="*/ 32642 w 6484234"/>
              <a:gd name="connsiteY8" fmla="*/ 5682057 h 6858340"/>
              <a:gd name="connsiteX9" fmla="*/ 6234224 w 6484234"/>
              <a:gd name="connsiteY9" fmla="*/ 2759607 h 6858340"/>
              <a:gd name="connsiteX10" fmla="*/ 4531624 w 6484234"/>
              <a:gd name="connsiteY10" fmla="*/ 1935755 h 6858340"/>
              <a:gd name="connsiteX11" fmla="*/ 6411795 w 6484234"/>
              <a:gd name="connsiteY11" fmla="*/ 1075304 h 6858340"/>
              <a:gd name="connsiteX12" fmla="*/ 4174052 w 6484234"/>
              <a:gd name="connsiteY12" fmla="*/ 0 h 6858340"/>
              <a:gd name="connsiteX0" fmla="*/ 4174052 w 6484234"/>
              <a:gd name="connsiteY0" fmla="*/ 0 h 6858340"/>
              <a:gd name="connsiteX1" fmla="*/ 4264823 w 6484234"/>
              <a:gd name="connsiteY1" fmla="*/ 9864 h 6858340"/>
              <a:gd name="connsiteX2" fmla="*/ 6468988 w 6484234"/>
              <a:gd name="connsiteY2" fmla="*/ 1102999 h 6858340"/>
              <a:gd name="connsiteX3" fmla="*/ 4708921 w 6484234"/>
              <a:gd name="connsiteY3" fmla="*/ 1874712 h 6858340"/>
              <a:gd name="connsiteX4" fmla="*/ 6480849 w 6484234"/>
              <a:gd name="connsiteY4" fmla="*/ 2790603 h 6858340"/>
              <a:gd name="connsiteX5" fmla="*/ 714578 w 6484234"/>
              <a:gd name="connsiteY5" fmla="*/ 5523480 h 6858340"/>
              <a:gd name="connsiteX6" fmla="*/ 2181965 w 6484234"/>
              <a:gd name="connsiteY6" fmla="*/ 6858340 h 6858340"/>
              <a:gd name="connsiteX7" fmla="*/ 1006308 w 6484234"/>
              <a:gd name="connsiteY7" fmla="*/ 6858340 h 6858340"/>
              <a:gd name="connsiteX8" fmla="*/ 32642 w 6484234"/>
              <a:gd name="connsiteY8" fmla="*/ 5682057 h 6858340"/>
              <a:gd name="connsiteX9" fmla="*/ 6234224 w 6484234"/>
              <a:gd name="connsiteY9" fmla="*/ 2759607 h 6858340"/>
              <a:gd name="connsiteX10" fmla="*/ 4531624 w 6484234"/>
              <a:gd name="connsiteY10" fmla="*/ 1935755 h 6858340"/>
              <a:gd name="connsiteX11" fmla="*/ 6411795 w 6484234"/>
              <a:gd name="connsiteY11" fmla="*/ 1075304 h 6858340"/>
              <a:gd name="connsiteX12" fmla="*/ 4174052 w 6484234"/>
              <a:gd name="connsiteY12" fmla="*/ 0 h 6858340"/>
              <a:gd name="connsiteX0" fmla="*/ 4174052 w 6484234"/>
              <a:gd name="connsiteY0" fmla="*/ 0 h 6858340"/>
              <a:gd name="connsiteX1" fmla="*/ 4245375 w 6484234"/>
              <a:gd name="connsiteY1" fmla="*/ 339 h 6858340"/>
              <a:gd name="connsiteX2" fmla="*/ 6468988 w 6484234"/>
              <a:gd name="connsiteY2" fmla="*/ 1102999 h 6858340"/>
              <a:gd name="connsiteX3" fmla="*/ 4708921 w 6484234"/>
              <a:gd name="connsiteY3" fmla="*/ 1874712 h 6858340"/>
              <a:gd name="connsiteX4" fmla="*/ 6480849 w 6484234"/>
              <a:gd name="connsiteY4" fmla="*/ 2790603 h 6858340"/>
              <a:gd name="connsiteX5" fmla="*/ 714578 w 6484234"/>
              <a:gd name="connsiteY5" fmla="*/ 5523480 h 6858340"/>
              <a:gd name="connsiteX6" fmla="*/ 2181965 w 6484234"/>
              <a:gd name="connsiteY6" fmla="*/ 6858340 h 6858340"/>
              <a:gd name="connsiteX7" fmla="*/ 1006308 w 6484234"/>
              <a:gd name="connsiteY7" fmla="*/ 6858340 h 6858340"/>
              <a:gd name="connsiteX8" fmla="*/ 32642 w 6484234"/>
              <a:gd name="connsiteY8" fmla="*/ 5682057 h 6858340"/>
              <a:gd name="connsiteX9" fmla="*/ 6234224 w 6484234"/>
              <a:gd name="connsiteY9" fmla="*/ 2759607 h 6858340"/>
              <a:gd name="connsiteX10" fmla="*/ 4531624 w 6484234"/>
              <a:gd name="connsiteY10" fmla="*/ 1935755 h 6858340"/>
              <a:gd name="connsiteX11" fmla="*/ 6411795 w 6484234"/>
              <a:gd name="connsiteY11" fmla="*/ 1075304 h 6858340"/>
              <a:gd name="connsiteX12" fmla="*/ 4174052 w 6484234"/>
              <a:gd name="connsiteY12" fmla="*/ 0 h 6858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484234" h="6858340">
                <a:moveTo>
                  <a:pt x="4174052" y="0"/>
                </a:moveTo>
                <a:lnTo>
                  <a:pt x="4245375" y="339"/>
                </a:lnTo>
                <a:cubicBezTo>
                  <a:pt x="5416178" y="528936"/>
                  <a:pt x="6350992" y="682938"/>
                  <a:pt x="6468988" y="1102999"/>
                </a:cubicBezTo>
                <a:cubicBezTo>
                  <a:pt x="6557029" y="1428930"/>
                  <a:pt x="4727971" y="1512762"/>
                  <a:pt x="4708921" y="1874712"/>
                </a:cubicBezTo>
                <a:cubicBezTo>
                  <a:pt x="4701937" y="2115638"/>
                  <a:pt x="6312010" y="1882285"/>
                  <a:pt x="6480849" y="2790603"/>
                </a:cubicBezTo>
                <a:cubicBezTo>
                  <a:pt x="6650520" y="3577335"/>
                  <a:pt x="385599" y="4141704"/>
                  <a:pt x="714578" y="5523480"/>
                </a:cubicBezTo>
                <a:cubicBezTo>
                  <a:pt x="794323" y="5878568"/>
                  <a:pt x="1791030" y="6638674"/>
                  <a:pt x="2181965" y="6858340"/>
                </a:cubicBezTo>
                <a:lnTo>
                  <a:pt x="1006308" y="6858340"/>
                </a:lnTo>
                <a:cubicBezTo>
                  <a:pt x="717405" y="6667367"/>
                  <a:pt x="222031" y="6109569"/>
                  <a:pt x="32642" y="5682057"/>
                </a:cubicBezTo>
                <a:cubicBezTo>
                  <a:pt x="-515243" y="3750636"/>
                  <a:pt x="6012382" y="3379244"/>
                  <a:pt x="6234224" y="2759607"/>
                </a:cubicBezTo>
                <a:cubicBezTo>
                  <a:pt x="6337180" y="2134960"/>
                  <a:pt x="4538501" y="2237673"/>
                  <a:pt x="4531624" y="1935755"/>
                </a:cubicBezTo>
                <a:cubicBezTo>
                  <a:pt x="4501670" y="1437575"/>
                  <a:pt x="6411795" y="1358332"/>
                  <a:pt x="6411795" y="1075304"/>
                </a:cubicBezTo>
                <a:cubicBezTo>
                  <a:pt x="6249153" y="697073"/>
                  <a:pt x="4905821" y="364785"/>
                  <a:pt x="4174052" y="0"/>
                </a:cubicBezTo>
                <a:close/>
              </a:path>
            </a:pathLst>
          </a:custGeom>
          <a:gradFill flip="none" rotWithShape="1">
            <a:gsLst>
              <a:gs pos="0">
                <a:srgbClr val="9F3321">
                  <a:shade val="30000"/>
                  <a:satMod val="115000"/>
                </a:srgbClr>
              </a:gs>
              <a:gs pos="50000">
                <a:srgbClr val="9F3321">
                  <a:shade val="67500"/>
                  <a:satMod val="115000"/>
                </a:srgbClr>
              </a:gs>
              <a:gs pos="100000">
                <a:srgbClr val="9F3321">
                  <a:shade val="100000"/>
                  <a:satMod val="115000"/>
                </a:srgb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" name="object 34">
            <a:extLst>
              <a:ext uri="{FF2B5EF4-FFF2-40B4-BE49-F238E27FC236}">
                <a16:creationId xmlns:a16="http://schemas.microsoft.com/office/drawing/2014/main" id="{6704379B-DC3D-C6F6-270C-485CAD2834CF}"/>
              </a:ext>
            </a:extLst>
          </p:cNvPr>
          <p:cNvSpPr txBox="1"/>
          <p:nvPr/>
        </p:nvSpPr>
        <p:spPr>
          <a:xfrm>
            <a:off x="385761" y="427891"/>
            <a:ext cx="11434763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en-US"/>
            </a:defPPr>
            <a:lvl1pPr marL="12700">
              <a:lnSpc>
                <a:spcPct val="100000"/>
              </a:lnSpc>
              <a:spcBef>
                <a:spcPts val="100"/>
              </a:spcBef>
              <a:defRPr sz="3600" spc="1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defRPr>
            </a:lvl1pPr>
          </a:lstStyle>
          <a:p>
            <a:r>
              <a:rPr lang="en-US" sz="2400" dirty="0">
                <a:solidFill>
                  <a:srgbClr val="8B0000"/>
                </a:solidFill>
              </a:rPr>
              <a:t>Gen AI’s product velocity is unprecedented – we’re in the early stages and Large Language Model’s (LLMs) will continue to improve exponentially </a:t>
            </a:r>
            <a:endParaRPr sz="2400" dirty="0">
              <a:solidFill>
                <a:srgbClr val="8B0000"/>
              </a:solidFill>
            </a:endParaRP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73B42CD4-A264-4326-9913-9747354CB225}"/>
              </a:ext>
            </a:extLst>
          </p:cNvPr>
          <p:cNvGrpSpPr/>
          <p:nvPr/>
        </p:nvGrpSpPr>
        <p:grpSpPr>
          <a:xfrm>
            <a:off x="1040150" y="5795878"/>
            <a:ext cx="1511303" cy="1028701"/>
            <a:chOff x="2846368" y="2914649"/>
            <a:chExt cx="1551458" cy="1028701"/>
          </a:xfrm>
        </p:grpSpPr>
        <p:sp>
          <p:nvSpPr>
            <p:cNvPr id="92" name="Isosceles Triangle 91">
              <a:extLst>
                <a:ext uri="{FF2B5EF4-FFF2-40B4-BE49-F238E27FC236}">
                  <a16:creationId xmlns:a16="http://schemas.microsoft.com/office/drawing/2014/main" id="{9694EEC7-A72F-479F-811E-CBD1C4B193DA}"/>
                </a:ext>
              </a:extLst>
            </p:cNvPr>
            <p:cNvSpPr/>
            <p:nvPr/>
          </p:nvSpPr>
          <p:spPr>
            <a:xfrm rot="5400000">
              <a:off x="3853479" y="3399002"/>
              <a:ext cx="115208" cy="973487"/>
            </a:xfrm>
            <a:prstGeom prst="triangle">
              <a:avLst/>
            </a:prstGeom>
            <a:gradFill flip="none" rotWithShape="1">
              <a:gsLst>
                <a:gs pos="100000">
                  <a:schemeClr val="tx1">
                    <a:alpha val="44000"/>
                  </a:schemeClr>
                </a:gs>
                <a:gs pos="0">
                  <a:schemeClr val="tx1">
                    <a:lumMod val="65000"/>
                    <a:lumOff val="35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B5BB4C1C-FA7D-4166-BE3D-CBF3424810C9}"/>
                </a:ext>
              </a:extLst>
            </p:cNvPr>
            <p:cNvGrpSpPr/>
            <p:nvPr/>
          </p:nvGrpSpPr>
          <p:grpSpPr>
            <a:xfrm>
              <a:off x="2893292" y="3257549"/>
              <a:ext cx="591952" cy="685800"/>
              <a:chOff x="4110677" y="3252106"/>
              <a:chExt cx="591952" cy="685800"/>
            </a:xfrm>
          </p:grpSpPr>
          <p:sp>
            <p:nvSpPr>
              <p:cNvPr id="97" name="Isosceles Triangle 96">
                <a:extLst>
                  <a:ext uri="{FF2B5EF4-FFF2-40B4-BE49-F238E27FC236}">
                    <a16:creationId xmlns:a16="http://schemas.microsoft.com/office/drawing/2014/main" id="{4588C378-C8F1-4E16-ABE2-388E76223E28}"/>
                  </a:ext>
                </a:extLst>
              </p:cNvPr>
              <p:cNvSpPr/>
              <p:nvPr/>
            </p:nvSpPr>
            <p:spPr>
              <a:xfrm>
                <a:off x="4406653" y="3252106"/>
                <a:ext cx="295976" cy="685800"/>
              </a:xfrm>
              <a:prstGeom prst="triangle">
                <a:avLst>
                  <a:gd name="adj" fmla="val 0"/>
                </a:avLst>
              </a:prstGeom>
              <a:solidFill>
                <a:srgbClr val="008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98" name="Isosceles Triangle 97">
                <a:extLst>
                  <a:ext uri="{FF2B5EF4-FFF2-40B4-BE49-F238E27FC236}">
                    <a16:creationId xmlns:a16="http://schemas.microsoft.com/office/drawing/2014/main" id="{51B56A15-9D71-48A0-A355-2367D556FF28}"/>
                  </a:ext>
                </a:extLst>
              </p:cNvPr>
              <p:cNvSpPr/>
              <p:nvPr/>
            </p:nvSpPr>
            <p:spPr>
              <a:xfrm flipH="1">
                <a:off x="4110677" y="3252106"/>
                <a:ext cx="295976" cy="685800"/>
              </a:xfrm>
              <a:prstGeom prst="triangle">
                <a:avLst>
                  <a:gd name="adj" fmla="val 0"/>
                </a:avLst>
              </a:prstGeom>
              <a:solidFill>
                <a:srgbClr val="33CC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3072B053-EF43-4AF4-AE89-BA06B440375C}"/>
                </a:ext>
              </a:extLst>
            </p:cNvPr>
            <p:cNvGrpSpPr/>
            <p:nvPr/>
          </p:nvGrpSpPr>
          <p:grpSpPr>
            <a:xfrm>
              <a:off x="2846368" y="2914649"/>
              <a:ext cx="685800" cy="685800"/>
              <a:chOff x="2389059" y="3298371"/>
              <a:chExt cx="685800" cy="685800"/>
            </a:xfrm>
          </p:grpSpPr>
          <p:sp>
            <p:nvSpPr>
              <p:cNvPr id="95" name="Circle: Hollow 94">
                <a:extLst>
                  <a:ext uri="{FF2B5EF4-FFF2-40B4-BE49-F238E27FC236}">
                    <a16:creationId xmlns:a16="http://schemas.microsoft.com/office/drawing/2014/main" id="{EA20425C-DAB8-4287-ADD8-BE5B88D31A31}"/>
                  </a:ext>
                </a:extLst>
              </p:cNvPr>
              <p:cNvSpPr/>
              <p:nvPr/>
            </p:nvSpPr>
            <p:spPr>
              <a:xfrm>
                <a:off x="2389059" y="3298371"/>
                <a:ext cx="685800" cy="685800"/>
              </a:xfrm>
              <a:prstGeom prst="donut">
                <a:avLst>
                  <a:gd name="adj" fmla="val 5888"/>
                </a:avLst>
              </a:prstGeom>
              <a:solidFill>
                <a:srgbClr val="008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>
                  <a:solidFill>
                    <a:schemeClr val="tx1"/>
                  </a:solidFill>
                </a:endParaRP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45652C4D-2463-4C92-9D39-6BBB4CBFA9E2}"/>
                  </a:ext>
                </a:extLst>
              </p:cNvPr>
              <p:cNvSpPr/>
              <p:nvPr/>
            </p:nvSpPr>
            <p:spPr>
              <a:xfrm>
                <a:off x="2462538" y="3371850"/>
                <a:ext cx="538842" cy="53884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177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</p:grpSp>
      <p:sp>
        <p:nvSpPr>
          <p:cNvPr id="138" name="TextBox 137">
            <a:extLst>
              <a:ext uri="{FF2B5EF4-FFF2-40B4-BE49-F238E27FC236}">
                <a16:creationId xmlns:a16="http://schemas.microsoft.com/office/drawing/2014/main" id="{D9FDED5E-31D1-4EFE-BFDC-0AE05A45564F}"/>
              </a:ext>
            </a:extLst>
          </p:cNvPr>
          <p:cNvSpPr txBox="1"/>
          <p:nvPr/>
        </p:nvSpPr>
        <p:spPr>
          <a:xfrm>
            <a:off x="-12901" y="4454699"/>
            <a:ext cx="14369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>
                <a:solidFill>
                  <a:srgbClr val="008000"/>
                </a:solidFill>
                <a:latin typeface="Georgia" panose="02040502050405020303" pitchFamily="18" charset="0"/>
              </a:rPr>
              <a:t>2017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9723F93D-C1D9-4C51-BEEE-BC304B4F4F85}"/>
              </a:ext>
            </a:extLst>
          </p:cNvPr>
          <p:cNvSpPr txBox="1"/>
          <p:nvPr/>
        </p:nvSpPr>
        <p:spPr>
          <a:xfrm>
            <a:off x="-14419" y="4911569"/>
            <a:ext cx="26099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ogle’s Transformer Architecture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1A306737-3467-4837-9CCE-CC386667217F}"/>
              </a:ext>
            </a:extLst>
          </p:cNvPr>
          <p:cNvSpPr txBox="1"/>
          <p:nvPr/>
        </p:nvSpPr>
        <p:spPr>
          <a:xfrm>
            <a:off x="-17584" y="5123010"/>
            <a:ext cx="274320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9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oogle publishes research on the Transformer architecture – the core building block for current Natural Language Processing model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93EF631-2391-88CC-4D48-1A7E9D9593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0595" y="5994650"/>
            <a:ext cx="382074" cy="288252"/>
          </a:xfrm>
          <a:prstGeom prst="rect">
            <a:avLst/>
          </a:prstGeom>
        </p:spPr>
      </p:pic>
      <p:grpSp>
        <p:nvGrpSpPr>
          <p:cNvPr id="99" name="Group 98">
            <a:extLst>
              <a:ext uri="{FF2B5EF4-FFF2-40B4-BE49-F238E27FC236}">
                <a16:creationId xmlns:a16="http://schemas.microsoft.com/office/drawing/2014/main" id="{EB339D6F-450E-4FEA-8EDD-5594006F8668}"/>
              </a:ext>
            </a:extLst>
          </p:cNvPr>
          <p:cNvGrpSpPr/>
          <p:nvPr/>
        </p:nvGrpSpPr>
        <p:grpSpPr>
          <a:xfrm>
            <a:off x="3241586" y="4615041"/>
            <a:ext cx="1511303" cy="1028701"/>
            <a:chOff x="2846368" y="2914649"/>
            <a:chExt cx="1551458" cy="1028701"/>
          </a:xfrm>
        </p:grpSpPr>
        <p:sp>
          <p:nvSpPr>
            <p:cNvPr id="100" name="Isosceles Triangle 99">
              <a:extLst>
                <a:ext uri="{FF2B5EF4-FFF2-40B4-BE49-F238E27FC236}">
                  <a16:creationId xmlns:a16="http://schemas.microsoft.com/office/drawing/2014/main" id="{2D79CCD2-0226-4D9C-B3EC-28FF1FAB8929}"/>
                </a:ext>
              </a:extLst>
            </p:cNvPr>
            <p:cNvSpPr/>
            <p:nvPr/>
          </p:nvSpPr>
          <p:spPr>
            <a:xfrm rot="5400000">
              <a:off x="3853479" y="3399002"/>
              <a:ext cx="115208" cy="973487"/>
            </a:xfrm>
            <a:prstGeom prst="triangle">
              <a:avLst/>
            </a:prstGeom>
            <a:gradFill flip="none" rotWithShape="1">
              <a:gsLst>
                <a:gs pos="100000">
                  <a:schemeClr val="tx1">
                    <a:alpha val="44000"/>
                  </a:schemeClr>
                </a:gs>
                <a:gs pos="0">
                  <a:schemeClr val="tx1">
                    <a:lumMod val="65000"/>
                    <a:lumOff val="35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BA2185B4-4666-4802-A423-D885B7117775}"/>
                </a:ext>
              </a:extLst>
            </p:cNvPr>
            <p:cNvGrpSpPr/>
            <p:nvPr/>
          </p:nvGrpSpPr>
          <p:grpSpPr>
            <a:xfrm>
              <a:off x="2893292" y="3257549"/>
              <a:ext cx="591952" cy="685800"/>
              <a:chOff x="4110677" y="3252106"/>
              <a:chExt cx="591952" cy="685800"/>
            </a:xfrm>
          </p:grpSpPr>
          <p:sp>
            <p:nvSpPr>
              <p:cNvPr id="105" name="Isosceles Triangle 104">
                <a:extLst>
                  <a:ext uri="{FF2B5EF4-FFF2-40B4-BE49-F238E27FC236}">
                    <a16:creationId xmlns:a16="http://schemas.microsoft.com/office/drawing/2014/main" id="{35D63672-51B1-4A0F-8EB6-B2E2B7AFD3A1}"/>
                  </a:ext>
                </a:extLst>
              </p:cNvPr>
              <p:cNvSpPr/>
              <p:nvPr/>
            </p:nvSpPr>
            <p:spPr>
              <a:xfrm>
                <a:off x="4406653" y="3252106"/>
                <a:ext cx="295976" cy="685800"/>
              </a:xfrm>
              <a:prstGeom prst="triangle">
                <a:avLst>
                  <a:gd name="adj" fmla="val 0"/>
                </a:avLst>
              </a:prstGeom>
              <a:solidFill>
                <a:srgbClr val="CC3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106" name="Isosceles Triangle 105">
                <a:extLst>
                  <a:ext uri="{FF2B5EF4-FFF2-40B4-BE49-F238E27FC236}">
                    <a16:creationId xmlns:a16="http://schemas.microsoft.com/office/drawing/2014/main" id="{B57B7F37-AF4A-4864-BD74-41D5EDCB06A9}"/>
                  </a:ext>
                </a:extLst>
              </p:cNvPr>
              <p:cNvSpPr/>
              <p:nvPr/>
            </p:nvSpPr>
            <p:spPr>
              <a:xfrm flipH="1">
                <a:off x="4110677" y="3252106"/>
                <a:ext cx="295976" cy="685800"/>
              </a:xfrm>
              <a:prstGeom prst="triangle">
                <a:avLst>
                  <a:gd name="adj" fmla="val 0"/>
                </a:avLst>
              </a:prstGeom>
              <a:solidFill>
                <a:srgbClr val="FFC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E229C826-CA29-4BF0-9621-9CD0308CF590}"/>
                </a:ext>
              </a:extLst>
            </p:cNvPr>
            <p:cNvGrpSpPr/>
            <p:nvPr/>
          </p:nvGrpSpPr>
          <p:grpSpPr>
            <a:xfrm>
              <a:off x="2846368" y="2914649"/>
              <a:ext cx="685800" cy="685800"/>
              <a:chOff x="2389059" y="3298371"/>
              <a:chExt cx="685800" cy="685800"/>
            </a:xfrm>
          </p:grpSpPr>
          <p:sp>
            <p:nvSpPr>
              <p:cNvPr id="103" name="Circle: Hollow 102">
                <a:extLst>
                  <a:ext uri="{FF2B5EF4-FFF2-40B4-BE49-F238E27FC236}">
                    <a16:creationId xmlns:a16="http://schemas.microsoft.com/office/drawing/2014/main" id="{61A705E4-A4D4-453E-89CE-B382903AE954}"/>
                  </a:ext>
                </a:extLst>
              </p:cNvPr>
              <p:cNvSpPr/>
              <p:nvPr/>
            </p:nvSpPr>
            <p:spPr>
              <a:xfrm>
                <a:off x="2389059" y="3298371"/>
                <a:ext cx="685800" cy="685800"/>
              </a:xfrm>
              <a:prstGeom prst="donut">
                <a:avLst>
                  <a:gd name="adj" fmla="val 5888"/>
                </a:avLst>
              </a:prstGeom>
              <a:solidFill>
                <a:srgbClr val="CC3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DC5EB5CA-F348-4FE4-8DEB-E8C2DD35CFBE}"/>
                  </a:ext>
                </a:extLst>
              </p:cNvPr>
              <p:cNvSpPr/>
              <p:nvPr/>
            </p:nvSpPr>
            <p:spPr>
              <a:xfrm>
                <a:off x="2462538" y="3371850"/>
                <a:ext cx="538842" cy="53884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177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96278AA6-6531-455F-898D-9F01BE161BF4}"/>
              </a:ext>
            </a:extLst>
          </p:cNvPr>
          <p:cNvGrpSpPr/>
          <p:nvPr/>
        </p:nvGrpSpPr>
        <p:grpSpPr>
          <a:xfrm>
            <a:off x="3947886" y="5484580"/>
            <a:ext cx="1663475" cy="910691"/>
            <a:chOff x="592522" y="3641974"/>
            <a:chExt cx="1707673" cy="910691"/>
          </a:xfrm>
        </p:grpSpPr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4EE904FF-A888-46AD-BFB8-130653B662CF}"/>
                </a:ext>
              </a:extLst>
            </p:cNvPr>
            <p:cNvSpPr txBox="1"/>
            <p:nvPr/>
          </p:nvSpPr>
          <p:spPr>
            <a:xfrm>
              <a:off x="592522" y="3641974"/>
              <a:ext cx="147509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2400" b="1" dirty="0">
                  <a:solidFill>
                    <a:srgbClr val="CC3300"/>
                  </a:solidFill>
                  <a:latin typeface="Georgia" panose="02040502050405020303" pitchFamily="18" charset="0"/>
                </a:rPr>
                <a:t>2021</a:t>
              </a:r>
            </a:p>
          </p:txBody>
        </p: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001EC604-1AA8-4894-ABA8-F9B9D066F96E}"/>
                </a:ext>
              </a:extLst>
            </p:cNvPr>
            <p:cNvSpPr txBox="1"/>
            <p:nvPr/>
          </p:nvSpPr>
          <p:spPr>
            <a:xfrm>
              <a:off x="592522" y="4111936"/>
              <a:ext cx="147509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200" dirty="0">
                  <a:solidFill>
                    <a:srgbClr val="CC33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ultimodal Design</a:t>
              </a:r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06307386-DC02-4529-8996-209E46D79DC7}"/>
                </a:ext>
              </a:extLst>
            </p:cNvPr>
            <p:cNvSpPr txBox="1"/>
            <p:nvPr/>
          </p:nvSpPr>
          <p:spPr>
            <a:xfrm>
              <a:off x="592522" y="4321833"/>
              <a:ext cx="170767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endParaRPr lang="en-IN" sz="9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9B50338-C67B-8AF3-BF56-4D7CC254BFEE}"/>
              </a:ext>
            </a:extLst>
          </p:cNvPr>
          <p:cNvSpPr txBox="1"/>
          <p:nvPr/>
        </p:nvSpPr>
        <p:spPr>
          <a:xfrm>
            <a:off x="3961670" y="6114319"/>
            <a:ext cx="27445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9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libaba introduces a groundbreaking multimodal AI model, blending visual, textual, and auditory data processing capabilities – leading the way for Midjourney, Sora, Stable Diffusion,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tc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AA68AD0-549A-AA27-EA88-21A06E636A82}"/>
              </a:ext>
            </a:extLst>
          </p:cNvPr>
          <p:cNvGrpSpPr/>
          <p:nvPr/>
        </p:nvGrpSpPr>
        <p:grpSpPr>
          <a:xfrm>
            <a:off x="4546489" y="4001207"/>
            <a:ext cx="1511303" cy="1028701"/>
            <a:chOff x="2846368" y="2914649"/>
            <a:chExt cx="1551458" cy="1028701"/>
          </a:xfrm>
        </p:grpSpPr>
        <p:sp>
          <p:nvSpPr>
            <p:cNvPr id="13" name="Isosceles Triangle 12">
              <a:extLst>
                <a:ext uri="{FF2B5EF4-FFF2-40B4-BE49-F238E27FC236}">
                  <a16:creationId xmlns:a16="http://schemas.microsoft.com/office/drawing/2014/main" id="{7911FA3D-CB46-7CA9-A063-EA10F4B9A911}"/>
                </a:ext>
              </a:extLst>
            </p:cNvPr>
            <p:cNvSpPr/>
            <p:nvPr/>
          </p:nvSpPr>
          <p:spPr>
            <a:xfrm rot="5400000">
              <a:off x="3853479" y="3399002"/>
              <a:ext cx="115208" cy="973487"/>
            </a:xfrm>
            <a:prstGeom prst="triangle">
              <a:avLst/>
            </a:prstGeom>
            <a:gradFill flip="none" rotWithShape="1">
              <a:gsLst>
                <a:gs pos="100000">
                  <a:schemeClr val="tx1">
                    <a:alpha val="44000"/>
                  </a:schemeClr>
                </a:gs>
                <a:gs pos="0">
                  <a:schemeClr val="tx1">
                    <a:lumMod val="65000"/>
                    <a:lumOff val="35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003C3CF-60DF-0C9A-DE21-0DEED1766E56}"/>
                </a:ext>
              </a:extLst>
            </p:cNvPr>
            <p:cNvGrpSpPr/>
            <p:nvPr/>
          </p:nvGrpSpPr>
          <p:grpSpPr>
            <a:xfrm>
              <a:off x="2893292" y="3257549"/>
              <a:ext cx="591952" cy="685800"/>
              <a:chOff x="4110677" y="3252106"/>
              <a:chExt cx="591952" cy="685800"/>
            </a:xfrm>
          </p:grpSpPr>
          <p:sp>
            <p:nvSpPr>
              <p:cNvPr id="18" name="Isosceles Triangle 17">
                <a:extLst>
                  <a:ext uri="{FF2B5EF4-FFF2-40B4-BE49-F238E27FC236}">
                    <a16:creationId xmlns:a16="http://schemas.microsoft.com/office/drawing/2014/main" id="{2D51A6E3-818F-18A7-1F5A-0D59F04154BD}"/>
                  </a:ext>
                </a:extLst>
              </p:cNvPr>
              <p:cNvSpPr/>
              <p:nvPr/>
            </p:nvSpPr>
            <p:spPr>
              <a:xfrm>
                <a:off x="4406653" y="3252106"/>
                <a:ext cx="295976" cy="685800"/>
              </a:xfrm>
              <a:prstGeom prst="triangle">
                <a:avLst>
                  <a:gd name="adj" fmla="val 0"/>
                </a:avLst>
              </a:pr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19" name="Isosceles Triangle 18">
                <a:extLst>
                  <a:ext uri="{FF2B5EF4-FFF2-40B4-BE49-F238E27FC236}">
                    <a16:creationId xmlns:a16="http://schemas.microsoft.com/office/drawing/2014/main" id="{A84661DF-5949-4989-3A7C-BBD4F9E7EA9E}"/>
                  </a:ext>
                </a:extLst>
              </p:cNvPr>
              <p:cNvSpPr/>
              <p:nvPr/>
            </p:nvSpPr>
            <p:spPr>
              <a:xfrm flipH="1">
                <a:off x="4110677" y="3252106"/>
                <a:ext cx="295976" cy="685800"/>
              </a:xfrm>
              <a:prstGeom prst="triangle">
                <a:avLst>
                  <a:gd name="adj" fmla="val 0"/>
                </a:avLst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188F7772-F1C5-61E7-811B-204286D2FDFA}"/>
                </a:ext>
              </a:extLst>
            </p:cNvPr>
            <p:cNvGrpSpPr/>
            <p:nvPr/>
          </p:nvGrpSpPr>
          <p:grpSpPr>
            <a:xfrm>
              <a:off x="2846368" y="2914649"/>
              <a:ext cx="685800" cy="685800"/>
              <a:chOff x="2389059" y="3298371"/>
              <a:chExt cx="685800" cy="685800"/>
            </a:xfrm>
          </p:grpSpPr>
          <p:sp>
            <p:nvSpPr>
              <p:cNvPr id="16" name="Circle: Hollow 15">
                <a:extLst>
                  <a:ext uri="{FF2B5EF4-FFF2-40B4-BE49-F238E27FC236}">
                    <a16:creationId xmlns:a16="http://schemas.microsoft.com/office/drawing/2014/main" id="{66EF0F4E-C467-2067-D2E8-1F138961E8D7}"/>
                  </a:ext>
                </a:extLst>
              </p:cNvPr>
              <p:cNvSpPr/>
              <p:nvPr/>
            </p:nvSpPr>
            <p:spPr>
              <a:xfrm>
                <a:off x="2389059" y="3298371"/>
                <a:ext cx="685800" cy="685800"/>
              </a:xfrm>
              <a:prstGeom prst="donut">
                <a:avLst>
                  <a:gd name="adj" fmla="val 5888"/>
                </a:avLst>
              </a:pr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F460EAC3-E716-B0F3-4495-61351786C8E2}"/>
                  </a:ext>
                </a:extLst>
              </p:cNvPr>
              <p:cNvSpPr/>
              <p:nvPr/>
            </p:nvSpPr>
            <p:spPr>
              <a:xfrm>
                <a:off x="2462538" y="3371850"/>
                <a:ext cx="538842" cy="53884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177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/>
              </a:p>
            </p:txBody>
          </p:sp>
        </p:grp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366AC427-F024-05C8-B07D-36CB53F26FA7}"/>
              </a:ext>
            </a:extLst>
          </p:cNvPr>
          <p:cNvSpPr txBox="1"/>
          <p:nvPr/>
        </p:nvSpPr>
        <p:spPr>
          <a:xfrm>
            <a:off x="4806141" y="2849564"/>
            <a:ext cx="14369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>
                <a:solidFill>
                  <a:schemeClr val="bg2">
                    <a:lumMod val="25000"/>
                  </a:schemeClr>
                </a:solidFill>
                <a:latin typeface="Georgia" panose="02040502050405020303" pitchFamily="18" charset="0"/>
              </a:rPr>
              <a:t>2022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843CE20-EFFD-71D0-4FC6-EEB1A2DB04F9}"/>
              </a:ext>
            </a:extLst>
          </p:cNvPr>
          <p:cNvSpPr txBox="1"/>
          <p:nvPr/>
        </p:nvSpPr>
        <p:spPr>
          <a:xfrm>
            <a:off x="4826329" y="3329711"/>
            <a:ext cx="1575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PT-3.5 Releas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2999286-15E3-4D1E-2B0F-293119D31F3A}"/>
              </a:ext>
            </a:extLst>
          </p:cNvPr>
          <p:cNvSpPr txBox="1"/>
          <p:nvPr/>
        </p:nvSpPr>
        <p:spPr>
          <a:xfrm>
            <a:off x="4841977" y="3496478"/>
            <a:ext cx="274320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9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08763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2pPr>
            <a:lvl3pPr marL="2175271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3pPr>
            <a:lvl4pPr marL="3262912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4pPr>
            <a:lvl5pPr marL="4350546" indent="0" algn="ctr" defTabSz="1087636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>
                <a:solidFill>
                  <a:schemeClr val="tx1">
                    <a:tint val="75000"/>
                  </a:schemeClr>
                </a:solidFill>
                <a:latin typeface="Open Sans"/>
                <a:cs typeface="Open Sans"/>
              </a:defRPr>
            </a:lvl5pPr>
            <a:lvl6pPr marL="5438184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6pPr>
            <a:lvl7pPr marL="6525820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7pPr>
            <a:lvl8pPr marL="7613455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8pPr>
            <a:lvl9pPr marL="8701091" indent="0" algn="ctr" defTabSz="1087636">
              <a:spcBef>
                <a:spcPct val="20000"/>
              </a:spcBef>
              <a:buFont typeface="Arial"/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penAI’s ChatGPT becomes the first widely used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GenAI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model – gaining 100 million users in two months.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612D01C2-878A-C3BD-CCF4-BB6C83C0F0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4257" y="4090294"/>
            <a:ext cx="474598" cy="487208"/>
          </a:xfrm>
          <a:prstGeom prst="ellipse">
            <a:avLst/>
          </a:prstGeom>
        </p:spPr>
      </p:pic>
      <p:sp>
        <p:nvSpPr>
          <p:cNvPr id="146" name="TextBox 145">
            <a:extLst>
              <a:ext uri="{FF2B5EF4-FFF2-40B4-BE49-F238E27FC236}">
                <a16:creationId xmlns:a16="http://schemas.microsoft.com/office/drawing/2014/main" id="{A0ACB674-9B18-4809-8AF0-7D607A226BC3}"/>
              </a:ext>
            </a:extLst>
          </p:cNvPr>
          <p:cNvSpPr txBox="1"/>
          <p:nvPr/>
        </p:nvSpPr>
        <p:spPr>
          <a:xfrm>
            <a:off x="9954818" y="4273752"/>
            <a:ext cx="14811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>
                <a:solidFill>
                  <a:srgbClr val="F14F21"/>
                </a:solidFill>
                <a:latin typeface="Georgia" panose="02040502050405020303" pitchFamily="18" charset="0"/>
              </a:rPr>
              <a:t>2023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7E7BCFC6-C2DD-4FD1-9D1D-6A21750B9DAB}"/>
              </a:ext>
            </a:extLst>
          </p:cNvPr>
          <p:cNvSpPr txBox="1"/>
          <p:nvPr/>
        </p:nvSpPr>
        <p:spPr>
          <a:xfrm>
            <a:off x="9962487" y="4726462"/>
            <a:ext cx="21297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rgbClr val="F14F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e Suite Integration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F968FEF4-6B16-4641-8DE5-6176BBE73038}"/>
              </a:ext>
            </a:extLst>
          </p:cNvPr>
          <p:cNvSpPr txBox="1"/>
          <p:nvPr/>
        </p:nvSpPr>
        <p:spPr>
          <a:xfrm>
            <a:off x="9975644" y="4893229"/>
            <a:ext cx="2039343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ilot features aim to augment human capabilities in professional environments, streamlining workflows and enhancing decision-making processes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F8CF6AF7-4150-0B86-38A1-43024C4CAA86}"/>
              </a:ext>
            </a:extLst>
          </p:cNvPr>
          <p:cNvGrpSpPr/>
          <p:nvPr/>
        </p:nvGrpSpPr>
        <p:grpSpPr>
          <a:xfrm>
            <a:off x="9205317" y="3741805"/>
            <a:ext cx="1511303" cy="1028701"/>
            <a:chOff x="8253808" y="4752125"/>
            <a:chExt cx="1551458" cy="1028701"/>
          </a:xfrm>
        </p:grpSpPr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6762C0CB-2279-42B0-8AC7-E96D13CEFEBA}"/>
                </a:ext>
              </a:extLst>
            </p:cNvPr>
            <p:cNvGrpSpPr/>
            <p:nvPr/>
          </p:nvGrpSpPr>
          <p:grpSpPr>
            <a:xfrm>
              <a:off x="8253808" y="4752125"/>
              <a:ext cx="1551458" cy="1028701"/>
              <a:chOff x="2846368" y="2914649"/>
              <a:chExt cx="1551458" cy="1028701"/>
            </a:xfrm>
          </p:grpSpPr>
          <p:sp>
            <p:nvSpPr>
              <p:cNvPr id="108" name="Isosceles Triangle 107">
                <a:extLst>
                  <a:ext uri="{FF2B5EF4-FFF2-40B4-BE49-F238E27FC236}">
                    <a16:creationId xmlns:a16="http://schemas.microsoft.com/office/drawing/2014/main" id="{64EDD915-8D84-4636-A584-E4026278701A}"/>
                  </a:ext>
                </a:extLst>
              </p:cNvPr>
              <p:cNvSpPr/>
              <p:nvPr/>
            </p:nvSpPr>
            <p:spPr>
              <a:xfrm rot="5400000">
                <a:off x="3853479" y="3399002"/>
                <a:ext cx="115208" cy="973487"/>
              </a:xfrm>
              <a:prstGeom prst="triangle">
                <a:avLst/>
              </a:prstGeom>
              <a:gradFill flip="none" rotWithShape="1">
                <a:gsLst>
                  <a:gs pos="100000">
                    <a:schemeClr val="tx1">
                      <a:alpha val="44000"/>
                    </a:schemeClr>
                  </a:gs>
                  <a:gs pos="0">
                    <a:schemeClr val="tx1">
                      <a:lumMod val="65000"/>
                      <a:lumOff val="35000"/>
                      <a:alpha val="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grpSp>
            <p:nvGrpSpPr>
              <p:cNvPr id="109" name="Group 108">
                <a:extLst>
                  <a:ext uri="{FF2B5EF4-FFF2-40B4-BE49-F238E27FC236}">
                    <a16:creationId xmlns:a16="http://schemas.microsoft.com/office/drawing/2014/main" id="{B6CFF2C1-0227-4C14-B2DF-5285FBB8989C}"/>
                  </a:ext>
                </a:extLst>
              </p:cNvPr>
              <p:cNvGrpSpPr/>
              <p:nvPr/>
            </p:nvGrpSpPr>
            <p:grpSpPr>
              <a:xfrm>
                <a:off x="2893292" y="3257549"/>
                <a:ext cx="591952" cy="685800"/>
                <a:chOff x="4110677" y="3252106"/>
                <a:chExt cx="591952" cy="685800"/>
              </a:xfrm>
            </p:grpSpPr>
            <p:sp>
              <p:nvSpPr>
                <p:cNvPr id="113" name="Isosceles Triangle 112">
                  <a:extLst>
                    <a:ext uri="{FF2B5EF4-FFF2-40B4-BE49-F238E27FC236}">
                      <a16:creationId xmlns:a16="http://schemas.microsoft.com/office/drawing/2014/main" id="{697C2922-82A2-45C2-A650-057722AD6400}"/>
                    </a:ext>
                  </a:extLst>
                </p:cNvPr>
                <p:cNvSpPr/>
                <p:nvPr/>
              </p:nvSpPr>
              <p:spPr>
                <a:xfrm>
                  <a:off x="4406653" y="3252106"/>
                  <a:ext cx="295976" cy="685800"/>
                </a:xfrm>
                <a:prstGeom prst="triangle">
                  <a:avLst>
                    <a:gd name="adj" fmla="val 0"/>
                  </a:avLst>
                </a:prstGeom>
                <a:solidFill>
                  <a:srgbClr val="F14F2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114" name="Isosceles Triangle 113">
                  <a:extLst>
                    <a:ext uri="{FF2B5EF4-FFF2-40B4-BE49-F238E27FC236}">
                      <a16:creationId xmlns:a16="http://schemas.microsoft.com/office/drawing/2014/main" id="{5AB8C4D0-3DE9-4B9F-A0D4-9281C9D6B010}"/>
                    </a:ext>
                  </a:extLst>
                </p:cNvPr>
                <p:cNvSpPr/>
                <p:nvPr/>
              </p:nvSpPr>
              <p:spPr>
                <a:xfrm flipH="1">
                  <a:off x="4110677" y="3252106"/>
                  <a:ext cx="295976" cy="685800"/>
                </a:xfrm>
                <a:prstGeom prst="triangle">
                  <a:avLst>
                    <a:gd name="adj" fmla="val 0"/>
                  </a:avLst>
                </a:prstGeom>
                <a:solidFill>
                  <a:srgbClr val="FF996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/>
                </a:p>
              </p:txBody>
            </p:sp>
          </p:grpSp>
          <p:grpSp>
            <p:nvGrpSpPr>
              <p:cNvPr id="110" name="Group 109">
                <a:extLst>
                  <a:ext uri="{FF2B5EF4-FFF2-40B4-BE49-F238E27FC236}">
                    <a16:creationId xmlns:a16="http://schemas.microsoft.com/office/drawing/2014/main" id="{F41359E0-2610-474B-A73C-2C7BCAD749BB}"/>
                  </a:ext>
                </a:extLst>
              </p:cNvPr>
              <p:cNvGrpSpPr/>
              <p:nvPr/>
            </p:nvGrpSpPr>
            <p:grpSpPr>
              <a:xfrm>
                <a:off x="2846368" y="2914649"/>
                <a:ext cx="685800" cy="685800"/>
                <a:chOff x="2389059" y="3298371"/>
                <a:chExt cx="685800" cy="685800"/>
              </a:xfrm>
            </p:grpSpPr>
            <p:sp>
              <p:nvSpPr>
                <p:cNvPr id="111" name="Circle: Hollow 110">
                  <a:extLst>
                    <a:ext uri="{FF2B5EF4-FFF2-40B4-BE49-F238E27FC236}">
                      <a16:creationId xmlns:a16="http://schemas.microsoft.com/office/drawing/2014/main" id="{132277AF-7BAC-4043-A8D9-CAD11292FCD2}"/>
                    </a:ext>
                  </a:extLst>
                </p:cNvPr>
                <p:cNvSpPr/>
                <p:nvPr/>
              </p:nvSpPr>
              <p:spPr>
                <a:xfrm>
                  <a:off x="2389059" y="3298371"/>
                  <a:ext cx="685800" cy="685800"/>
                </a:xfrm>
                <a:prstGeom prst="donut">
                  <a:avLst>
                    <a:gd name="adj" fmla="val 5888"/>
                  </a:avLst>
                </a:prstGeom>
                <a:solidFill>
                  <a:srgbClr val="F14F2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2" name="Oval 111">
                  <a:extLst>
                    <a:ext uri="{FF2B5EF4-FFF2-40B4-BE49-F238E27FC236}">
                      <a16:creationId xmlns:a16="http://schemas.microsoft.com/office/drawing/2014/main" id="{B27437B1-0C5A-4C53-BAAA-EB11E8864E97}"/>
                    </a:ext>
                  </a:extLst>
                </p:cNvPr>
                <p:cNvSpPr/>
                <p:nvPr/>
              </p:nvSpPr>
              <p:spPr>
                <a:xfrm>
                  <a:off x="2462538" y="3371850"/>
                  <a:ext cx="538842" cy="538842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177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/>
                </a:p>
              </p:txBody>
            </p:sp>
          </p:grpSp>
        </p:grpSp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8AA689F0-78D9-1149-39A8-C78C443C3C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440391" y="4948020"/>
              <a:ext cx="293435" cy="293435"/>
            </a:xfrm>
            <a:prstGeom prst="rect">
              <a:avLst/>
            </a:prstGeom>
          </p:spPr>
        </p:pic>
      </p:grpSp>
      <p:sp>
        <p:nvSpPr>
          <p:cNvPr id="27" name="Isosceles Triangle 26">
            <a:extLst>
              <a:ext uri="{FF2B5EF4-FFF2-40B4-BE49-F238E27FC236}">
                <a16:creationId xmlns:a16="http://schemas.microsoft.com/office/drawing/2014/main" id="{93DF6432-15E6-208D-B490-EB0B3290F030}"/>
              </a:ext>
            </a:extLst>
          </p:cNvPr>
          <p:cNvSpPr/>
          <p:nvPr/>
        </p:nvSpPr>
        <p:spPr>
          <a:xfrm rot="5400000">
            <a:off x="7554464" y="4629258"/>
            <a:ext cx="115208" cy="948291"/>
          </a:xfrm>
          <a:prstGeom prst="triangle">
            <a:avLst/>
          </a:prstGeom>
          <a:gradFill flip="none" rotWithShape="1">
            <a:gsLst>
              <a:gs pos="100000">
                <a:schemeClr val="tx1">
                  <a:alpha val="44000"/>
                </a:schemeClr>
              </a:gs>
              <a:gs pos="0">
                <a:schemeClr val="tx1">
                  <a:lumMod val="65000"/>
                  <a:lumOff val="35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FC0DD6D-A1FD-8B8E-A1F3-3B14A50B440B}"/>
              </a:ext>
            </a:extLst>
          </p:cNvPr>
          <p:cNvGrpSpPr/>
          <p:nvPr/>
        </p:nvGrpSpPr>
        <p:grpSpPr>
          <a:xfrm>
            <a:off x="6596999" y="4475207"/>
            <a:ext cx="576631" cy="685800"/>
            <a:chOff x="4110677" y="3252106"/>
            <a:chExt cx="591952" cy="685800"/>
          </a:xfrm>
        </p:grpSpPr>
        <p:sp>
          <p:nvSpPr>
            <p:cNvPr id="32" name="Isosceles Triangle 31">
              <a:extLst>
                <a:ext uri="{FF2B5EF4-FFF2-40B4-BE49-F238E27FC236}">
                  <a16:creationId xmlns:a16="http://schemas.microsoft.com/office/drawing/2014/main" id="{8E9B829D-28BE-9C32-AF37-332D918B20C8}"/>
                </a:ext>
              </a:extLst>
            </p:cNvPr>
            <p:cNvSpPr/>
            <p:nvPr/>
          </p:nvSpPr>
          <p:spPr>
            <a:xfrm>
              <a:off x="4406653" y="3252106"/>
              <a:ext cx="295976" cy="685800"/>
            </a:xfrm>
            <a:prstGeom prst="triangle">
              <a:avLst>
                <a:gd name="adj" fmla="val 0"/>
              </a:avLst>
            </a:prstGeom>
            <a:solidFill>
              <a:srgbClr val="2800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33" name="Isosceles Triangle 32">
              <a:extLst>
                <a:ext uri="{FF2B5EF4-FFF2-40B4-BE49-F238E27FC236}">
                  <a16:creationId xmlns:a16="http://schemas.microsoft.com/office/drawing/2014/main" id="{46C89AD9-A910-69DB-2A44-E7606077DEC9}"/>
                </a:ext>
              </a:extLst>
            </p:cNvPr>
            <p:cNvSpPr/>
            <p:nvPr/>
          </p:nvSpPr>
          <p:spPr>
            <a:xfrm flipH="1">
              <a:off x="4110677" y="3252106"/>
              <a:ext cx="295976" cy="685800"/>
            </a:xfrm>
            <a:prstGeom prst="triangle">
              <a:avLst>
                <a:gd name="adj" fmla="val 0"/>
              </a:avLst>
            </a:prstGeom>
            <a:solidFill>
              <a:srgbClr val="0088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D9B59B21-DC7E-F858-4BFC-33E44599401E}"/>
              </a:ext>
            </a:extLst>
          </p:cNvPr>
          <p:cNvGrpSpPr/>
          <p:nvPr/>
        </p:nvGrpSpPr>
        <p:grpSpPr>
          <a:xfrm>
            <a:off x="6552505" y="4132307"/>
            <a:ext cx="668050" cy="685800"/>
            <a:chOff x="2389059" y="3298371"/>
            <a:chExt cx="685800" cy="685800"/>
          </a:xfrm>
        </p:grpSpPr>
        <p:sp>
          <p:nvSpPr>
            <p:cNvPr id="30" name="Circle: Hollow 29">
              <a:extLst>
                <a:ext uri="{FF2B5EF4-FFF2-40B4-BE49-F238E27FC236}">
                  <a16:creationId xmlns:a16="http://schemas.microsoft.com/office/drawing/2014/main" id="{411384FA-C099-74C3-46EA-5FC4D35E2F6D}"/>
                </a:ext>
              </a:extLst>
            </p:cNvPr>
            <p:cNvSpPr/>
            <p:nvPr/>
          </p:nvSpPr>
          <p:spPr>
            <a:xfrm>
              <a:off x="2389059" y="3298371"/>
              <a:ext cx="685800" cy="685800"/>
            </a:xfrm>
            <a:prstGeom prst="donut">
              <a:avLst>
                <a:gd name="adj" fmla="val 5888"/>
              </a:avLst>
            </a:prstGeom>
            <a:solidFill>
              <a:srgbClr val="2800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17F185E7-B59B-043F-D330-168D357E8D76}"/>
                </a:ext>
              </a:extLst>
            </p:cNvPr>
            <p:cNvSpPr/>
            <p:nvPr/>
          </p:nvSpPr>
          <p:spPr>
            <a:xfrm>
              <a:off x="2462538" y="3371850"/>
              <a:ext cx="538842" cy="53884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77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FD195289-92B7-0E81-25C4-C13203E604F2}"/>
              </a:ext>
            </a:extLst>
          </p:cNvPr>
          <p:cNvSpPr txBox="1"/>
          <p:nvPr/>
        </p:nvSpPr>
        <p:spPr>
          <a:xfrm>
            <a:off x="7495006" y="4997037"/>
            <a:ext cx="14369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>
                <a:solidFill>
                  <a:srgbClr val="2800D7"/>
                </a:solidFill>
                <a:latin typeface="Georgia" panose="02040502050405020303" pitchFamily="18" charset="0"/>
              </a:rPr>
              <a:t>2023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3BF4F9E-903B-7B88-887F-13E82BCF5994}"/>
              </a:ext>
            </a:extLst>
          </p:cNvPr>
          <p:cNvSpPr txBox="1"/>
          <p:nvPr/>
        </p:nvSpPr>
        <p:spPr>
          <a:xfrm>
            <a:off x="7515274" y="5466999"/>
            <a:ext cx="21997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rgbClr val="2800D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ticalized LLMs Enter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0EBF30A-7766-F91B-587C-968343DD3BA7}"/>
              </a:ext>
            </a:extLst>
          </p:cNvPr>
          <p:cNvSpPr txBox="1"/>
          <p:nvPr/>
        </p:nvSpPr>
        <p:spPr>
          <a:xfrm>
            <a:off x="7523581" y="5633766"/>
            <a:ext cx="2622103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9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everaging the firm's internal data,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BloombergGPT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a domain-specific LLM that was trained on 300+ billion finance tokens revolutionizes market analysis, risk assessment, and investment strategies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D68EF221-5399-CBA7-9979-B6AE057C9C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76627" y="4261994"/>
            <a:ext cx="413031" cy="424005"/>
          </a:xfrm>
          <a:prstGeom prst="ellipse">
            <a:avLst/>
          </a:prstGeom>
        </p:spPr>
      </p:pic>
      <p:sp>
        <p:nvSpPr>
          <p:cNvPr id="116" name="Isosceles Triangle 115">
            <a:extLst>
              <a:ext uri="{FF2B5EF4-FFF2-40B4-BE49-F238E27FC236}">
                <a16:creationId xmlns:a16="http://schemas.microsoft.com/office/drawing/2014/main" id="{FA22ADD4-93CE-46F0-8E55-F363B8E8E73D}"/>
              </a:ext>
            </a:extLst>
          </p:cNvPr>
          <p:cNvSpPr/>
          <p:nvPr/>
        </p:nvSpPr>
        <p:spPr>
          <a:xfrm rot="5400000">
            <a:off x="7922035" y="2371619"/>
            <a:ext cx="115208" cy="948291"/>
          </a:xfrm>
          <a:prstGeom prst="triangle">
            <a:avLst/>
          </a:prstGeom>
          <a:gradFill flip="none" rotWithShape="1">
            <a:gsLst>
              <a:gs pos="100000">
                <a:schemeClr val="tx1">
                  <a:alpha val="44000"/>
                </a:schemeClr>
              </a:gs>
              <a:gs pos="0">
                <a:schemeClr val="tx1">
                  <a:lumMod val="65000"/>
                  <a:lumOff val="35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EE7A4E2A-E765-47B4-AC14-D2D902CFE220}"/>
              </a:ext>
            </a:extLst>
          </p:cNvPr>
          <p:cNvGrpSpPr/>
          <p:nvPr/>
        </p:nvGrpSpPr>
        <p:grpSpPr>
          <a:xfrm>
            <a:off x="6964570" y="2217568"/>
            <a:ext cx="576631" cy="685800"/>
            <a:chOff x="4110677" y="3252106"/>
            <a:chExt cx="591952" cy="685800"/>
          </a:xfrm>
        </p:grpSpPr>
        <p:sp>
          <p:nvSpPr>
            <p:cNvPr id="121" name="Isosceles Triangle 120">
              <a:extLst>
                <a:ext uri="{FF2B5EF4-FFF2-40B4-BE49-F238E27FC236}">
                  <a16:creationId xmlns:a16="http://schemas.microsoft.com/office/drawing/2014/main" id="{5A66B926-ECAF-496B-A764-FB3397B460BB}"/>
                </a:ext>
              </a:extLst>
            </p:cNvPr>
            <p:cNvSpPr/>
            <p:nvPr/>
          </p:nvSpPr>
          <p:spPr>
            <a:xfrm>
              <a:off x="4406653" y="3252106"/>
              <a:ext cx="295976" cy="685800"/>
            </a:xfrm>
            <a:prstGeom prst="triangle">
              <a:avLst>
                <a:gd name="adj" fmla="val 0"/>
              </a:avLst>
            </a:prstGeom>
            <a:solidFill>
              <a:srgbClr val="663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22" name="Isosceles Triangle 121">
              <a:extLst>
                <a:ext uri="{FF2B5EF4-FFF2-40B4-BE49-F238E27FC236}">
                  <a16:creationId xmlns:a16="http://schemas.microsoft.com/office/drawing/2014/main" id="{37606100-80BF-4FC0-B1FE-2563F38A4191}"/>
                </a:ext>
              </a:extLst>
            </p:cNvPr>
            <p:cNvSpPr/>
            <p:nvPr/>
          </p:nvSpPr>
          <p:spPr>
            <a:xfrm flipH="1">
              <a:off x="4110677" y="3252106"/>
              <a:ext cx="295976" cy="685800"/>
            </a:xfrm>
            <a:prstGeom prst="triangle">
              <a:avLst>
                <a:gd name="adj" fmla="val 0"/>
              </a:avLst>
            </a:prstGeom>
            <a:solidFill>
              <a:srgbClr val="9966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FE39FA55-E424-47AC-BAFE-1A69F271CBBE}"/>
              </a:ext>
            </a:extLst>
          </p:cNvPr>
          <p:cNvGrpSpPr/>
          <p:nvPr/>
        </p:nvGrpSpPr>
        <p:grpSpPr>
          <a:xfrm>
            <a:off x="6920076" y="1874668"/>
            <a:ext cx="668050" cy="685800"/>
            <a:chOff x="2389059" y="3298371"/>
            <a:chExt cx="685800" cy="685800"/>
          </a:xfrm>
        </p:grpSpPr>
        <p:sp>
          <p:nvSpPr>
            <p:cNvPr id="119" name="Circle: Hollow 118">
              <a:extLst>
                <a:ext uri="{FF2B5EF4-FFF2-40B4-BE49-F238E27FC236}">
                  <a16:creationId xmlns:a16="http://schemas.microsoft.com/office/drawing/2014/main" id="{776898CD-7CB9-46D1-93B2-0E5942AF0EB7}"/>
                </a:ext>
              </a:extLst>
            </p:cNvPr>
            <p:cNvSpPr/>
            <p:nvPr/>
          </p:nvSpPr>
          <p:spPr>
            <a:xfrm>
              <a:off x="2389059" y="3298371"/>
              <a:ext cx="685800" cy="685800"/>
            </a:xfrm>
            <a:prstGeom prst="donut">
              <a:avLst>
                <a:gd name="adj" fmla="val 5888"/>
              </a:avLst>
            </a:prstGeom>
            <a:solidFill>
              <a:srgbClr val="663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13CEDD98-8954-4818-B42A-317D10D03614}"/>
                </a:ext>
              </a:extLst>
            </p:cNvPr>
            <p:cNvSpPr/>
            <p:nvPr/>
          </p:nvSpPr>
          <p:spPr>
            <a:xfrm>
              <a:off x="2462538" y="3371850"/>
              <a:ext cx="538842" cy="53884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77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sp>
        <p:nvSpPr>
          <p:cNvPr id="150" name="TextBox 149">
            <a:extLst>
              <a:ext uri="{FF2B5EF4-FFF2-40B4-BE49-F238E27FC236}">
                <a16:creationId xmlns:a16="http://schemas.microsoft.com/office/drawing/2014/main" id="{0504A9AC-C123-4BBB-AEB2-09062C17A495}"/>
              </a:ext>
            </a:extLst>
          </p:cNvPr>
          <p:cNvSpPr txBox="1"/>
          <p:nvPr/>
        </p:nvSpPr>
        <p:spPr>
          <a:xfrm>
            <a:off x="8170405" y="1502934"/>
            <a:ext cx="14369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>
                <a:solidFill>
                  <a:srgbClr val="663300"/>
                </a:solidFill>
                <a:latin typeface="Georgia" panose="02040502050405020303" pitchFamily="18" charset="0"/>
              </a:rPr>
              <a:t>2024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933C2815-9023-4861-B0BB-DD6412A3C4F3}"/>
              </a:ext>
            </a:extLst>
          </p:cNvPr>
          <p:cNvSpPr txBox="1"/>
          <p:nvPr/>
        </p:nvSpPr>
        <p:spPr>
          <a:xfrm>
            <a:off x="8191870" y="1929766"/>
            <a:ext cx="274772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rgbClr val="66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ude 3 Sets New Benchmark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EE4936B4-AFF5-41C3-B435-0786E2361B3D}"/>
              </a:ext>
            </a:extLst>
          </p:cNvPr>
          <p:cNvSpPr txBox="1"/>
          <p:nvPr/>
        </p:nvSpPr>
        <p:spPr>
          <a:xfrm>
            <a:off x="8216664" y="2139663"/>
            <a:ext cx="2743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hropics’s</a:t>
            </a:r>
            <a:r>
              <a:rPr lang="en-IN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ewest </a:t>
            </a:r>
            <a:r>
              <a:rPr lang="en-IN" sz="9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AI</a:t>
            </a:r>
            <a:r>
              <a:rPr lang="en-IN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del demonstrates astonishing critical thinking and problem-solving capabilities – correctly solving one of the world’s hardest quantum physics PhD problem sets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0836B7F4-19BB-1D2A-9E15-632C726B1DF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42832" y="1983354"/>
            <a:ext cx="420104" cy="431266"/>
          </a:xfrm>
          <a:prstGeom prst="ellipse">
            <a:avLst/>
          </a:prstGeom>
        </p:spPr>
      </p:pic>
      <p:sp>
        <p:nvSpPr>
          <p:cNvPr id="46" name="object 9">
            <a:extLst>
              <a:ext uri="{FF2B5EF4-FFF2-40B4-BE49-F238E27FC236}">
                <a16:creationId xmlns:a16="http://schemas.microsoft.com/office/drawing/2014/main" id="{BDFFE74D-BA7C-809D-2E8E-6A33DF78DBCA}"/>
              </a:ext>
            </a:extLst>
          </p:cNvPr>
          <p:cNvSpPr txBox="1"/>
          <p:nvPr/>
        </p:nvSpPr>
        <p:spPr>
          <a:xfrm>
            <a:off x="10858414" y="6678960"/>
            <a:ext cx="1313659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800" i="1" spc="-5" dirty="0">
                <a:solidFill>
                  <a:srgbClr val="5B5E5A"/>
                </a:solidFill>
                <a:latin typeface="Calibri"/>
                <a:cs typeface="Calibri"/>
              </a:rPr>
              <a:t>Northwestern University (2024) </a:t>
            </a:r>
            <a:endParaRPr sz="800" i="1" dirty="0">
              <a:latin typeface="Calibri"/>
              <a:cs typeface="Calibri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5A134C-67E9-AD4F-8B90-70B5F17524C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36393" y="4832326"/>
            <a:ext cx="472359" cy="216477"/>
          </a:xfrm>
          <a:prstGeom prst="rect">
            <a:avLst/>
          </a:prstGeom>
        </p:spPr>
      </p:pic>
      <p:grpSp>
        <p:nvGrpSpPr>
          <p:cNvPr id="90" name="Group 89">
            <a:extLst>
              <a:ext uri="{FF2B5EF4-FFF2-40B4-BE49-F238E27FC236}">
                <a16:creationId xmlns:a16="http://schemas.microsoft.com/office/drawing/2014/main" id="{CFBAA84B-501B-4074-96CB-13531E6499C7}"/>
              </a:ext>
            </a:extLst>
          </p:cNvPr>
          <p:cNvGrpSpPr/>
          <p:nvPr/>
        </p:nvGrpSpPr>
        <p:grpSpPr>
          <a:xfrm>
            <a:off x="8105270" y="2775902"/>
            <a:ext cx="1511303" cy="1028701"/>
            <a:chOff x="2846368" y="2914649"/>
            <a:chExt cx="1551458" cy="1028701"/>
          </a:xfrm>
        </p:grpSpPr>
        <p:sp>
          <p:nvSpPr>
            <p:cNvPr id="89" name="Isosceles Triangle 88">
              <a:extLst>
                <a:ext uri="{FF2B5EF4-FFF2-40B4-BE49-F238E27FC236}">
                  <a16:creationId xmlns:a16="http://schemas.microsoft.com/office/drawing/2014/main" id="{DB0FA8A6-B51C-4B49-9B80-5CF42A4A5F15}"/>
                </a:ext>
              </a:extLst>
            </p:cNvPr>
            <p:cNvSpPr/>
            <p:nvPr/>
          </p:nvSpPr>
          <p:spPr>
            <a:xfrm rot="5400000">
              <a:off x="3853479" y="3399002"/>
              <a:ext cx="115208" cy="973487"/>
            </a:xfrm>
            <a:prstGeom prst="triangle">
              <a:avLst/>
            </a:prstGeom>
            <a:gradFill flip="none" rotWithShape="1">
              <a:gsLst>
                <a:gs pos="100000">
                  <a:schemeClr val="tx1">
                    <a:alpha val="44000"/>
                  </a:schemeClr>
                </a:gs>
                <a:gs pos="0">
                  <a:schemeClr val="tx1">
                    <a:lumMod val="65000"/>
                    <a:lumOff val="35000"/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602F9719-7418-44B7-9701-5D27CAF8BE72}"/>
                </a:ext>
              </a:extLst>
            </p:cNvPr>
            <p:cNvGrpSpPr/>
            <p:nvPr/>
          </p:nvGrpSpPr>
          <p:grpSpPr>
            <a:xfrm>
              <a:off x="2893292" y="3257549"/>
              <a:ext cx="591952" cy="685800"/>
              <a:chOff x="4110677" y="3252106"/>
              <a:chExt cx="591952" cy="685800"/>
            </a:xfrm>
          </p:grpSpPr>
          <p:sp>
            <p:nvSpPr>
              <p:cNvPr id="86" name="Isosceles Triangle 85">
                <a:extLst>
                  <a:ext uri="{FF2B5EF4-FFF2-40B4-BE49-F238E27FC236}">
                    <a16:creationId xmlns:a16="http://schemas.microsoft.com/office/drawing/2014/main" id="{A253FC7A-1A65-4B94-975C-A9C49BEC9891}"/>
                  </a:ext>
                </a:extLst>
              </p:cNvPr>
              <p:cNvSpPr/>
              <p:nvPr/>
            </p:nvSpPr>
            <p:spPr>
              <a:xfrm>
                <a:off x="4406653" y="3252106"/>
                <a:ext cx="295976" cy="685800"/>
              </a:xfrm>
              <a:prstGeom prst="triangle">
                <a:avLst>
                  <a:gd name="adj" fmla="val 0"/>
                </a:avLst>
              </a:prstGeom>
              <a:solidFill>
                <a:srgbClr val="0088E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/>
              </a:p>
            </p:txBody>
          </p:sp>
          <p:sp>
            <p:nvSpPr>
              <p:cNvPr id="87" name="Isosceles Triangle 86">
                <a:extLst>
                  <a:ext uri="{FF2B5EF4-FFF2-40B4-BE49-F238E27FC236}">
                    <a16:creationId xmlns:a16="http://schemas.microsoft.com/office/drawing/2014/main" id="{D8DA3374-3894-4EC9-9E22-3FC21008E942}"/>
                  </a:ext>
                </a:extLst>
              </p:cNvPr>
              <p:cNvSpPr/>
              <p:nvPr/>
            </p:nvSpPr>
            <p:spPr>
              <a:xfrm flipH="1">
                <a:off x="4110677" y="3252106"/>
                <a:ext cx="295976" cy="685800"/>
              </a:xfrm>
              <a:prstGeom prst="triangle">
                <a:avLst>
                  <a:gd name="adj" fmla="val 0"/>
                </a:avLst>
              </a:prstGeom>
              <a:solidFill>
                <a:srgbClr val="0066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5E5E3E98-176C-490D-9128-7471CBA267BA}"/>
                </a:ext>
              </a:extLst>
            </p:cNvPr>
            <p:cNvGrpSpPr/>
            <p:nvPr/>
          </p:nvGrpSpPr>
          <p:grpSpPr>
            <a:xfrm>
              <a:off x="2846368" y="2914649"/>
              <a:ext cx="685800" cy="685800"/>
              <a:chOff x="2389059" y="3298371"/>
              <a:chExt cx="685800" cy="685800"/>
            </a:xfrm>
          </p:grpSpPr>
          <p:sp>
            <p:nvSpPr>
              <p:cNvPr id="80" name="Circle: Hollow 79">
                <a:extLst>
                  <a:ext uri="{FF2B5EF4-FFF2-40B4-BE49-F238E27FC236}">
                    <a16:creationId xmlns:a16="http://schemas.microsoft.com/office/drawing/2014/main" id="{EF4C9E56-29BD-4090-961A-6F1B1E6D0D20}"/>
                  </a:ext>
                </a:extLst>
              </p:cNvPr>
              <p:cNvSpPr/>
              <p:nvPr/>
            </p:nvSpPr>
            <p:spPr>
              <a:xfrm>
                <a:off x="2389059" y="3298371"/>
                <a:ext cx="685800" cy="685800"/>
              </a:xfrm>
              <a:prstGeom prst="donut">
                <a:avLst>
                  <a:gd name="adj" fmla="val 5888"/>
                </a:avLst>
              </a:prstGeom>
              <a:solidFill>
                <a:srgbClr val="0088E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>
                  <a:solidFill>
                    <a:schemeClr val="tx1"/>
                  </a:solidFill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B37B4823-DF30-4F30-9681-38F25EA4ED88}"/>
                  </a:ext>
                </a:extLst>
              </p:cNvPr>
              <p:cNvSpPr/>
              <p:nvPr/>
            </p:nvSpPr>
            <p:spPr>
              <a:xfrm>
                <a:off x="2462538" y="3371850"/>
                <a:ext cx="538842" cy="53884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177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</p:grpSp>
      <p:sp>
        <p:nvSpPr>
          <p:cNvPr id="133" name="TextBox 132">
            <a:extLst>
              <a:ext uri="{FF2B5EF4-FFF2-40B4-BE49-F238E27FC236}">
                <a16:creationId xmlns:a16="http://schemas.microsoft.com/office/drawing/2014/main" id="{1D8E3F0C-7AD8-4C5B-92BF-B6ED4C65E6BD}"/>
              </a:ext>
            </a:extLst>
          </p:cNvPr>
          <p:cNvSpPr txBox="1"/>
          <p:nvPr/>
        </p:nvSpPr>
        <p:spPr>
          <a:xfrm>
            <a:off x="9869691" y="2759170"/>
            <a:ext cx="12045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b="1" dirty="0">
                <a:solidFill>
                  <a:srgbClr val="0088EE"/>
                </a:solidFill>
                <a:latin typeface="Georgia" panose="02040502050405020303" pitchFamily="18" charset="0"/>
              </a:rPr>
              <a:t>2023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517FB429-36AE-4C2C-A6F1-089A0E78F67D}"/>
              </a:ext>
            </a:extLst>
          </p:cNvPr>
          <p:cNvSpPr txBox="1"/>
          <p:nvPr/>
        </p:nvSpPr>
        <p:spPr>
          <a:xfrm>
            <a:off x="9869691" y="3228534"/>
            <a:ext cx="21452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dirty="0">
                <a:solidFill>
                  <a:srgbClr val="0088E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-source from Meta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C70324A7-D7B8-4826-8263-0E6DC51397D3}"/>
              </a:ext>
            </a:extLst>
          </p:cNvPr>
          <p:cNvSpPr txBox="1"/>
          <p:nvPr/>
        </p:nvSpPr>
        <p:spPr>
          <a:xfrm>
            <a:off x="9872533" y="3395301"/>
            <a:ext cx="22995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a’s Llama (Large Language Model Meta AI)</a:t>
            </a: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s a turning point in democratizing AI features enabling more custom solutions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42E2CCE1-CAE4-1FFE-6EFF-EE6AAEBD74D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81629" y="2970190"/>
            <a:ext cx="315834" cy="311483"/>
          </a:xfrm>
          <a:prstGeom prst="rect">
            <a:avLst/>
          </a:prstGeom>
        </p:spPr>
      </p:pic>
      <p:grpSp>
        <p:nvGrpSpPr>
          <p:cNvPr id="61" name="Group 60">
            <a:extLst>
              <a:ext uri="{FF2B5EF4-FFF2-40B4-BE49-F238E27FC236}">
                <a16:creationId xmlns:a16="http://schemas.microsoft.com/office/drawing/2014/main" id="{8CBE2DEE-1826-A2F2-000A-F3A887811E53}"/>
              </a:ext>
            </a:extLst>
          </p:cNvPr>
          <p:cNvGrpSpPr/>
          <p:nvPr/>
        </p:nvGrpSpPr>
        <p:grpSpPr>
          <a:xfrm>
            <a:off x="385761" y="1501970"/>
            <a:ext cx="3341423" cy="1442783"/>
            <a:chOff x="95889" y="1397782"/>
            <a:chExt cx="3430203" cy="1442783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0D657453-2575-771F-90EC-F547817917B9}"/>
                </a:ext>
              </a:extLst>
            </p:cNvPr>
            <p:cNvSpPr txBox="1"/>
            <p:nvPr/>
          </p:nvSpPr>
          <p:spPr>
            <a:xfrm>
              <a:off x="798904" y="1397782"/>
              <a:ext cx="168241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2400" b="1">
                  <a:solidFill>
                    <a:srgbClr val="663300"/>
                  </a:solidFill>
                  <a:latin typeface="Georgia" panose="02040502050405020303" pitchFamily="18" charset="0"/>
                </a:defRPr>
              </a:lvl1pPr>
            </a:lstStyle>
            <a:p>
              <a:r>
                <a:rPr lang="en-IN" dirty="0">
                  <a:solidFill>
                    <a:srgbClr val="8B0000"/>
                  </a:solidFill>
                </a:rPr>
                <a:t>2025 (P)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C153522E-EA12-7DAE-5D39-7E3E0B7912A9}"/>
                </a:ext>
              </a:extLst>
            </p:cNvPr>
            <p:cNvSpPr txBox="1"/>
            <p:nvPr/>
          </p:nvSpPr>
          <p:spPr>
            <a:xfrm>
              <a:off x="95889" y="2625121"/>
              <a:ext cx="274138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90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US" sz="8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Ray Kurzweil – Principal AI Researcher (Google)</a:t>
              </a: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07467A8A-57F9-E18F-E04D-B12DB3E58DAC}"/>
                </a:ext>
              </a:extLst>
            </p:cNvPr>
            <p:cNvSpPr/>
            <p:nvPr/>
          </p:nvSpPr>
          <p:spPr>
            <a:xfrm>
              <a:off x="174636" y="1854978"/>
              <a:ext cx="3351456" cy="788695"/>
            </a:xfrm>
            <a:custGeom>
              <a:avLst/>
              <a:gdLst>
                <a:gd name="connsiteX0" fmla="*/ 0 w 5653088"/>
                <a:gd name="connsiteY0" fmla="*/ 0 h 2356771"/>
                <a:gd name="connsiteX1" fmla="*/ 5653088 w 5653088"/>
                <a:gd name="connsiteY1" fmla="*/ 0 h 2356771"/>
                <a:gd name="connsiteX2" fmla="*/ 5653088 w 5653088"/>
                <a:gd name="connsiteY2" fmla="*/ 2064102 h 2356771"/>
                <a:gd name="connsiteX3" fmla="*/ 3026570 w 5653088"/>
                <a:gd name="connsiteY3" fmla="*/ 2064102 h 2356771"/>
                <a:gd name="connsiteX4" fmla="*/ 3026570 w 5653088"/>
                <a:gd name="connsiteY4" fmla="*/ 2356771 h 2356771"/>
                <a:gd name="connsiteX5" fmla="*/ 2662155 w 5653088"/>
                <a:gd name="connsiteY5" fmla="*/ 2064102 h 2356771"/>
                <a:gd name="connsiteX6" fmla="*/ 0 w 5653088"/>
                <a:gd name="connsiteY6" fmla="*/ 2064102 h 2356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53088" h="2356771">
                  <a:moveTo>
                    <a:pt x="0" y="0"/>
                  </a:moveTo>
                  <a:lnTo>
                    <a:pt x="5653088" y="0"/>
                  </a:lnTo>
                  <a:lnTo>
                    <a:pt x="5653088" y="2064102"/>
                  </a:lnTo>
                  <a:lnTo>
                    <a:pt x="3026570" y="2064102"/>
                  </a:lnTo>
                  <a:lnTo>
                    <a:pt x="3026570" y="2356771"/>
                  </a:lnTo>
                  <a:lnTo>
                    <a:pt x="2662155" y="2064102"/>
                  </a:lnTo>
                  <a:lnTo>
                    <a:pt x="0" y="2064102"/>
                  </a:lnTo>
                  <a:close/>
                </a:path>
              </a:pathLst>
            </a:custGeom>
            <a:noFill/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91440" bIns="9144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E57265DE-C09B-F73F-4E8F-CA170061C97E}"/>
                </a:ext>
              </a:extLst>
            </p:cNvPr>
            <p:cNvGrpSpPr/>
            <p:nvPr/>
          </p:nvGrpSpPr>
          <p:grpSpPr>
            <a:xfrm>
              <a:off x="248521" y="1811602"/>
              <a:ext cx="3203685" cy="610618"/>
              <a:chOff x="496101" y="1648208"/>
              <a:chExt cx="5403833" cy="1824647"/>
            </a:xfrm>
          </p:grpSpPr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519C9A80-BC76-D038-DDF0-C1ABD0CFFF91}"/>
                  </a:ext>
                </a:extLst>
              </p:cNvPr>
              <p:cNvSpPr/>
              <p:nvPr/>
            </p:nvSpPr>
            <p:spPr>
              <a:xfrm>
                <a:off x="496101" y="1648208"/>
                <a:ext cx="208598" cy="240508"/>
              </a:xfrm>
              <a:custGeom>
                <a:avLst/>
                <a:gdLst/>
                <a:ahLst/>
                <a:cxnLst/>
                <a:rect l="l" t="t" r="r" b="b"/>
                <a:pathLst>
                  <a:path w="105147" h="91083">
                    <a:moveTo>
                      <a:pt x="94655" y="0"/>
                    </a:moveTo>
                    <a:lnTo>
                      <a:pt x="105147" y="19869"/>
                    </a:lnTo>
                    <a:cubicBezTo>
                      <a:pt x="96590" y="23887"/>
                      <a:pt x="90674" y="27887"/>
                      <a:pt x="87400" y="31868"/>
                    </a:cubicBezTo>
                    <a:cubicBezTo>
                      <a:pt x="84125" y="35849"/>
                      <a:pt x="82302" y="40556"/>
                      <a:pt x="81930" y="45988"/>
                    </a:cubicBezTo>
                    <a:lnTo>
                      <a:pt x="105147" y="45988"/>
                    </a:lnTo>
                    <a:lnTo>
                      <a:pt x="105147" y="91083"/>
                    </a:lnTo>
                    <a:lnTo>
                      <a:pt x="56592" y="91083"/>
                    </a:lnTo>
                    <a:lnTo>
                      <a:pt x="56592" y="53690"/>
                    </a:lnTo>
                    <a:cubicBezTo>
                      <a:pt x="56592" y="39923"/>
                      <a:pt x="59457" y="29059"/>
                      <a:pt x="65187" y="21096"/>
                    </a:cubicBezTo>
                    <a:cubicBezTo>
                      <a:pt x="70917" y="13134"/>
                      <a:pt x="80739" y="6102"/>
                      <a:pt x="94655" y="0"/>
                    </a:cubicBezTo>
                    <a:close/>
                    <a:moveTo>
                      <a:pt x="38063" y="0"/>
                    </a:moveTo>
                    <a:lnTo>
                      <a:pt x="48555" y="19869"/>
                    </a:lnTo>
                    <a:cubicBezTo>
                      <a:pt x="39998" y="23887"/>
                      <a:pt x="34082" y="27887"/>
                      <a:pt x="30808" y="31868"/>
                    </a:cubicBezTo>
                    <a:cubicBezTo>
                      <a:pt x="27533" y="35849"/>
                      <a:pt x="25710" y="40556"/>
                      <a:pt x="25338" y="45988"/>
                    </a:cubicBezTo>
                    <a:lnTo>
                      <a:pt x="48555" y="45988"/>
                    </a:lnTo>
                    <a:lnTo>
                      <a:pt x="48555" y="91083"/>
                    </a:lnTo>
                    <a:lnTo>
                      <a:pt x="0" y="91083"/>
                    </a:lnTo>
                    <a:lnTo>
                      <a:pt x="0" y="53690"/>
                    </a:lnTo>
                    <a:cubicBezTo>
                      <a:pt x="0" y="39923"/>
                      <a:pt x="2865" y="29059"/>
                      <a:pt x="8595" y="21096"/>
                    </a:cubicBezTo>
                    <a:cubicBezTo>
                      <a:pt x="14325" y="13134"/>
                      <a:pt x="24148" y="6102"/>
                      <a:pt x="38063" y="0"/>
                    </a:cubicBezTo>
                    <a:close/>
                  </a:path>
                </a:pathLst>
              </a:custGeom>
              <a:solidFill>
                <a:srgbClr val="8B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tIns="91440" bIns="9144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66359B87-E2C0-0043-CB4D-09FF790E027F}"/>
                  </a:ext>
                </a:extLst>
              </p:cNvPr>
              <p:cNvSpPr/>
              <p:nvPr/>
            </p:nvSpPr>
            <p:spPr>
              <a:xfrm flipH="1" flipV="1">
                <a:off x="5691336" y="3232347"/>
                <a:ext cx="208598" cy="240508"/>
              </a:xfrm>
              <a:custGeom>
                <a:avLst/>
                <a:gdLst/>
                <a:ahLst/>
                <a:cxnLst/>
                <a:rect l="l" t="t" r="r" b="b"/>
                <a:pathLst>
                  <a:path w="105147" h="91083">
                    <a:moveTo>
                      <a:pt x="94655" y="0"/>
                    </a:moveTo>
                    <a:lnTo>
                      <a:pt x="105147" y="19869"/>
                    </a:lnTo>
                    <a:cubicBezTo>
                      <a:pt x="96590" y="23887"/>
                      <a:pt x="90674" y="27887"/>
                      <a:pt x="87400" y="31868"/>
                    </a:cubicBezTo>
                    <a:cubicBezTo>
                      <a:pt x="84125" y="35849"/>
                      <a:pt x="82302" y="40556"/>
                      <a:pt x="81930" y="45988"/>
                    </a:cubicBezTo>
                    <a:lnTo>
                      <a:pt x="105147" y="45988"/>
                    </a:lnTo>
                    <a:lnTo>
                      <a:pt x="105147" y="91083"/>
                    </a:lnTo>
                    <a:lnTo>
                      <a:pt x="56592" y="91083"/>
                    </a:lnTo>
                    <a:lnTo>
                      <a:pt x="56592" y="53690"/>
                    </a:lnTo>
                    <a:cubicBezTo>
                      <a:pt x="56592" y="39923"/>
                      <a:pt x="59457" y="29059"/>
                      <a:pt x="65187" y="21096"/>
                    </a:cubicBezTo>
                    <a:cubicBezTo>
                      <a:pt x="70917" y="13134"/>
                      <a:pt x="80739" y="6102"/>
                      <a:pt x="94655" y="0"/>
                    </a:cubicBezTo>
                    <a:close/>
                    <a:moveTo>
                      <a:pt x="38063" y="0"/>
                    </a:moveTo>
                    <a:lnTo>
                      <a:pt x="48555" y="19869"/>
                    </a:lnTo>
                    <a:cubicBezTo>
                      <a:pt x="39998" y="23887"/>
                      <a:pt x="34082" y="27887"/>
                      <a:pt x="30808" y="31868"/>
                    </a:cubicBezTo>
                    <a:cubicBezTo>
                      <a:pt x="27533" y="35849"/>
                      <a:pt x="25710" y="40556"/>
                      <a:pt x="25338" y="45988"/>
                    </a:cubicBezTo>
                    <a:lnTo>
                      <a:pt x="48555" y="45988"/>
                    </a:lnTo>
                    <a:lnTo>
                      <a:pt x="48555" y="91083"/>
                    </a:lnTo>
                    <a:lnTo>
                      <a:pt x="0" y="91083"/>
                    </a:lnTo>
                    <a:lnTo>
                      <a:pt x="0" y="53690"/>
                    </a:lnTo>
                    <a:cubicBezTo>
                      <a:pt x="0" y="39923"/>
                      <a:pt x="2865" y="29059"/>
                      <a:pt x="8595" y="21096"/>
                    </a:cubicBezTo>
                    <a:cubicBezTo>
                      <a:pt x="14325" y="13134"/>
                      <a:pt x="24148" y="6102"/>
                      <a:pt x="38063" y="0"/>
                    </a:cubicBezTo>
                    <a:close/>
                  </a:path>
                </a:pathLst>
              </a:custGeom>
              <a:solidFill>
                <a:srgbClr val="8B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tIns="91440" bIns="9144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59" name="Text Placeholder 6">
              <a:extLst>
                <a:ext uri="{FF2B5EF4-FFF2-40B4-BE49-F238E27FC236}">
                  <a16:creationId xmlns:a16="http://schemas.microsoft.com/office/drawing/2014/main" id="{1003A5F3-6D7E-40D8-62FE-0991E4CF9224}"/>
                </a:ext>
              </a:extLst>
            </p:cNvPr>
            <p:cNvSpPr txBox="1">
              <a:spLocks/>
            </p:cNvSpPr>
            <p:nvPr/>
          </p:nvSpPr>
          <p:spPr>
            <a:xfrm>
              <a:off x="201499" y="1884886"/>
              <a:ext cx="3244620" cy="342689"/>
            </a:xfrm>
            <a:prstGeom prst="rect">
              <a:avLst/>
            </a:prstGeom>
            <a:noFill/>
            <a:effectLst/>
          </p:spPr>
          <p:txBody>
            <a:bodyPr lIns="108000" tIns="72000" rIns="72000" bIns="72000" anchor="t"/>
            <a:lstStyle>
              <a:defPPr>
                <a:defRPr lang="en-US"/>
              </a:defPPr>
              <a:lvl1pPr indent="0" defTabSz="4572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b="1">
                  <a:latin typeface="+mj-lt"/>
                </a:defRPr>
              </a:lvl1pPr>
              <a:lvl2pPr marL="457200" indent="-457200" defTabSz="457200">
                <a:lnSpc>
                  <a:spcPct val="100000"/>
                </a:lnSpc>
                <a:spcBef>
                  <a:spcPts val="0"/>
                </a:spcBef>
                <a:spcAft>
                  <a:spcPts val="2400"/>
                </a:spcAft>
                <a:buClrTx/>
                <a:buFont typeface="Arial" panose="020B0604020202020204" pitchFamily="34" charset="0"/>
                <a:buChar char="•"/>
                <a:defRPr sz="4000">
                  <a:latin typeface="Graphik Light" panose="020B0403030202060203" pitchFamily="34" charset="0"/>
                </a:defRPr>
              </a:lvl2pPr>
              <a:lvl3pPr marL="914400" indent="-457200" defTabSz="457200">
                <a:lnSpc>
                  <a:spcPct val="100000"/>
                </a:lnSpc>
                <a:spcBef>
                  <a:spcPts val="0"/>
                </a:spcBef>
                <a:spcAft>
                  <a:spcPts val="2400"/>
                </a:spcAft>
                <a:buFont typeface="Verdana"/>
                <a:buChar char="–"/>
                <a:defRPr sz="4000">
                  <a:latin typeface="Graphik Light" panose="020B0403030202060203" pitchFamily="34" charset="0"/>
                </a:defRPr>
              </a:lvl3pPr>
              <a:lvl4pPr marL="1371600" indent="-457200" defTabSz="457200">
                <a:lnSpc>
                  <a:spcPct val="100000"/>
                </a:lnSpc>
                <a:spcBef>
                  <a:spcPts val="0"/>
                </a:spcBef>
                <a:spcAft>
                  <a:spcPts val="2400"/>
                </a:spcAft>
                <a:buFont typeface="Arial" panose="020B0604020202020204" pitchFamily="34" charset="0"/>
                <a:buChar char="•"/>
                <a:defRPr>
                  <a:latin typeface="Graphik Light" panose="020B0403030202060203" pitchFamily="34" charset="0"/>
                </a:defRPr>
              </a:lvl4pPr>
              <a:lvl5pPr marL="1828800" indent="-457200" defTabSz="457200">
                <a:lnSpc>
                  <a:spcPct val="100000"/>
                </a:lnSpc>
                <a:spcBef>
                  <a:spcPts val="0"/>
                </a:spcBef>
                <a:spcAft>
                  <a:spcPts val="2400"/>
                </a:spcAft>
                <a:buFont typeface="Verdana"/>
                <a:buChar char="–"/>
                <a:defRPr>
                  <a:latin typeface="Graphik Light" panose="020B0403030202060203" pitchFamily="34" charset="0"/>
                </a:defRPr>
              </a:lvl5pPr>
              <a:lvl6pPr marL="22226" indent="0" defTabSz="457200">
                <a:lnSpc>
                  <a:spcPct val="90000"/>
                </a:lnSpc>
                <a:spcBef>
                  <a:spcPts val="0"/>
                </a:spcBef>
                <a:spcAft>
                  <a:spcPts val="2400"/>
                </a:spcAft>
                <a:buFont typeface="Graphik" panose="020B0503030202060203" pitchFamily="34" charset="0"/>
                <a:buNone/>
                <a:tabLst/>
                <a:defRPr sz="3200">
                  <a:latin typeface="Graphik Light" panose="020B0403030202060203" pitchFamily="34" charset="0"/>
                </a:defRPr>
              </a:lvl6pPr>
              <a:lvl7pPr marL="0" indent="0" defTabSz="457200">
                <a:lnSpc>
                  <a:spcPct val="90000"/>
                </a:lnSpc>
                <a:spcBef>
                  <a:spcPts val="0"/>
                </a:spcBef>
                <a:spcAft>
                  <a:spcPts val="2400"/>
                </a:spcAft>
                <a:buFont typeface="Arial" panose="020B0604020202020204" pitchFamily="34" charset="0"/>
                <a:buNone/>
                <a:defRPr sz="2400">
                  <a:latin typeface="Graphik Light" panose="020B0403030202060203" pitchFamily="34" charset="0"/>
                </a:defRPr>
              </a:lvl7pPr>
              <a:lvl8pPr marL="0" indent="0" defTabSz="457200">
                <a:lnSpc>
                  <a:spcPct val="90000"/>
                </a:lnSpc>
                <a:spcBef>
                  <a:spcPts val="0"/>
                </a:spcBef>
                <a:spcAft>
                  <a:spcPts val="2400"/>
                </a:spcAft>
                <a:buFont typeface="Arial" panose="020B0604020202020204" pitchFamily="34" charset="0"/>
                <a:buNone/>
                <a:defRPr sz="2000" b="1">
                  <a:latin typeface="Graphik Light" panose="020B0403030202060203" pitchFamily="34" charset="0"/>
                </a:defRPr>
              </a:lvl8pPr>
              <a:lvl9pPr marL="0" indent="0" defTabSz="457200">
                <a:lnSpc>
                  <a:spcPct val="90000"/>
                </a:lnSpc>
                <a:spcBef>
                  <a:spcPts val="0"/>
                </a:spcBef>
                <a:spcAft>
                  <a:spcPts val="2400"/>
                </a:spcAft>
                <a:buFont typeface="Arial" panose="020B0604020202020204" pitchFamily="34" charset="0"/>
                <a:buNone/>
                <a:defRPr sz="1600">
                  <a:solidFill>
                    <a:schemeClr val="tx2"/>
                  </a:solidFill>
                  <a:latin typeface="Graphik Light" panose="020B0403030202060203" pitchFamily="34" charset="0"/>
                </a:defRPr>
              </a:lvl9pPr>
            </a:lstStyle>
            <a:p>
              <a:r>
                <a:rPr lang="en-IN" sz="1200" b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“LLMs will match the human brain in neural network connections”</a:t>
              </a:r>
            </a:p>
          </p:txBody>
        </p:sp>
      </p:grpSp>
      <p:cxnSp>
        <p:nvCxnSpPr>
          <p:cNvPr id="6" name="AutoShape 249">
            <a:extLst>
              <a:ext uri="{FF2B5EF4-FFF2-40B4-BE49-F238E27FC236}">
                <a16:creationId xmlns:a16="http://schemas.microsoft.com/office/drawing/2014/main" id="{09E4482D-2FF0-E91A-7DAD-B6C18F1DC1E0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86395" y="1318229"/>
            <a:ext cx="11359039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3175070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4">
            <a:extLst>
              <a:ext uri="{FF2B5EF4-FFF2-40B4-BE49-F238E27FC236}">
                <a16:creationId xmlns:a16="http://schemas.microsoft.com/office/drawing/2014/main" id="{7D948A9D-0455-F08C-ED48-D93A4984FB5C}"/>
              </a:ext>
            </a:extLst>
          </p:cNvPr>
          <p:cNvSpPr txBox="1"/>
          <p:nvPr/>
        </p:nvSpPr>
        <p:spPr>
          <a:xfrm>
            <a:off x="609740" y="519327"/>
            <a:ext cx="11291336" cy="87459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en-US"/>
            </a:defPPr>
            <a:lvl1pPr marL="12700">
              <a:lnSpc>
                <a:spcPct val="100000"/>
              </a:lnSpc>
              <a:spcBef>
                <a:spcPts val="100"/>
              </a:spcBef>
              <a:defRPr sz="3600" spc="1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defRPr>
            </a:lvl1pPr>
          </a:lstStyle>
          <a:p>
            <a:r>
              <a:rPr lang="en-US" sz="2800" dirty="0">
                <a:solidFill>
                  <a:srgbClr val="8B0000"/>
                </a:solidFill>
              </a:rPr>
              <a:t>Gen AI disruption is currently – and will continue – widening the moat for visionary leaders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7FD346C-981B-3788-AB6E-B7098F057B7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88143646"/>
              </p:ext>
            </p:extLst>
          </p:nvPr>
        </p:nvGraphicFramePr>
        <p:xfrm>
          <a:off x="609740" y="2053079"/>
          <a:ext cx="4799022" cy="40089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6789AC29-CA0C-112C-8EB3-AE5254F00952}"/>
              </a:ext>
            </a:extLst>
          </p:cNvPr>
          <p:cNvSpPr txBox="1"/>
          <p:nvPr/>
        </p:nvSpPr>
        <p:spPr>
          <a:xfrm>
            <a:off x="609740" y="1830079"/>
            <a:ext cx="589184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ders across industries say they are already using gen AI tools</a:t>
            </a:r>
            <a:r>
              <a:rPr lang="en-US" sz="1200" b="1" baseline="30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EB48A41-29B5-5EB0-EC2E-0AE63BC117B0}"/>
              </a:ext>
            </a:extLst>
          </p:cNvPr>
          <p:cNvSpPr txBox="1"/>
          <p:nvPr/>
        </p:nvSpPr>
        <p:spPr>
          <a:xfrm>
            <a:off x="6426679" y="1830079"/>
            <a:ext cx="547439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mpanies leading in AI outperform laggards financially</a:t>
            </a:r>
            <a:r>
              <a:rPr lang="en-US" baseline="30000" dirty="0"/>
              <a:t>2</a:t>
            </a:r>
          </a:p>
        </p:txBody>
      </p:sp>
      <p:graphicFrame>
        <p:nvGraphicFramePr>
          <p:cNvPr id="46" name="Chart 45">
            <a:extLst>
              <a:ext uri="{FF2B5EF4-FFF2-40B4-BE49-F238E27FC236}">
                <a16:creationId xmlns:a16="http://schemas.microsoft.com/office/drawing/2014/main" id="{1CEDECF8-0B20-F51B-5F64-F48F915C1E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27928340"/>
              </p:ext>
            </p:extLst>
          </p:nvPr>
        </p:nvGraphicFramePr>
        <p:xfrm>
          <a:off x="6501581" y="2053079"/>
          <a:ext cx="5474396" cy="40089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1" name="object 9">
            <a:extLst>
              <a:ext uri="{FF2B5EF4-FFF2-40B4-BE49-F238E27FC236}">
                <a16:creationId xmlns:a16="http://schemas.microsoft.com/office/drawing/2014/main" id="{499DF00A-FE39-680F-9DBB-865474F0AE9C}"/>
              </a:ext>
            </a:extLst>
          </p:cNvPr>
          <p:cNvSpPr txBox="1"/>
          <p:nvPr/>
        </p:nvSpPr>
        <p:spPr>
          <a:xfrm>
            <a:off x="10653982" y="6517259"/>
            <a:ext cx="1538018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800" i="1" spc="-5" baseline="30000" dirty="0">
                <a:solidFill>
                  <a:srgbClr val="5B5E5A"/>
                </a:solidFill>
                <a:latin typeface="Calibri"/>
                <a:cs typeface="Calibri"/>
              </a:rPr>
              <a:t>1</a:t>
            </a:r>
            <a:r>
              <a:rPr lang="en-US" sz="800" i="1" spc="-5" dirty="0">
                <a:solidFill>
                  <a:srgbClr val="5B5E5A"/>
                </a:solidFill>
                <a:latin typeface="Calibri"/>
                <a:cs typeface="Calibri"/>
              </a:rPr>
              <a:t>McKinsey Global Survey on AI, 2023 </a:t>
            </a:r>
            <a:endParaRPr sz="800" i="1" dirty="0">
              <a:latin typeface="Calibri"/>
              <a:cs typeface="Calibri"/>
            </a:endParaRPr>
          </a:p>
        </p:txBody>
      </p:sp>
      <p:sp>
        <p:nvSpPr>
          <p:cNvPr id="62" name="object 9">
            <a:extLst>
              <a:ext uri="{FF2B5EF4-FFF2-40B4-BE49-F238E27FC236}">
                <a16:creationId xmlns:a16="http://schemas.microsoft.com/office/drawing/2014/main" id="{ACED6F44-9F1C-1B85-0D7B-CCD25639E06E}"/>
              </a:ext>
            </a:extLst>
          </p:cNvPr>
          <p:cNvSpPr txBox="1"/>
          <p:nvPr/>
        </p:nvSpPr>
        <p:spPr>
          <a:xfrm>
            <a:off x="11251718" y="6653194"/>
            <a:ext cx="940282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800" i="1" spc="-5" baseline="30000" dirty="0">
                <a:solidFill>
                  <a:srgbClr val="5B5E5A"/>
                </a:solidFill>
                <a:latin typeface="Calibri"/>
                <a:cs typeface="Calibri"/>
              </a:rPr>
              <a:t>2</a:t>
            </a:r>
            <a:r>
              <a:rPr lang="en-US" sz="800" i="1" spc="-5" dirty="0">
                <a:solidFill>
                  <a:srgbClr val="5B5E5A"/>
                </a:solidFill>
                <a:latin typeface="Calibri"/>
                <a:cs typeface="Calibri"/>
              </a:rPr>
              <a:t>S&amp;P Capital IQ, 2023 </a:t>
            </a:r>
            <a:endParaRPr sz="800" i="1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758382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AC7376-90BD-E342-B97D-D208E1ACB1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Rectangle 149">
            <a:extLst>
              <a:ext uri="{FF2B5EF4-FFF2-40B4-BE49-F238E27FC236}">
                <a16:creationId xmlns:a16="http://schemas.microsoft.com/office/drawing/2014/main" id="{3BBA9CA0-7CA5-EA11-54DA-2D5CC9A9E87D}"/>
              </a:ext>
            </a:extLst>
          </p:cNvPr>
          <p:cNvSpPr/>
          <p:nvPr/>
        </p:nvSpPr>
        <p:spPr>
          <a:xfrm>
            <a:off x="7574629" y="2937961"/>
            <a:ext cx="4337269" cy="33201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74747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bject 34">
            <a:extLst>
              <a:ext uri="{FF2B5EF4-FFF2-40B4-BE49-F238E27FC236}">
                <a16:creationId xmlns:a16="http://schemas.microsoft.com/office/drawing/2014/main" id="{4ECA455C-D9A3-A2AF-932E-94E9CADAAD98}"/>
              </a:ext>
            </a:extLst>
          </p:cNvPr>
          <p:cNvSpPr txBox="1"/>
          <p:nvPr/>
        </p:nvSpPr>
        <p:spPr>
          <a:xfrm>
            <a:off x="673099" y="699246"/>
            <a:ext cx="6703061" cy="50526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3200" spc="1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Demystifying the Gen AI Technology</a:t>
            </a:r>
            <a:endParaRPr sz="3200" dirty="0">
              <a:solidFill>
                <a:schemeClr val="bg2">
                  <a:lumMod val="50000"/>
                </a:schemeClr>
              </a:solidFill>
              <a:latin typeface="Georgia" panose="02040502050405020303" pitchFamily="18" charset="0"/>
              <a:cs typeface="Calibri"/>
            </a:endParaRPr>
          </a:p>
        </p:txBody>
      </p:sp>
      <p:sp>
        <p:nvSpPr>
          <p:cNvPr id="20" name="object 41">
            <a:extLst>
              <a:ext uri="{FF2B5EF4-FFF2-40B4-BE49-F238E27FC236}">
                <a16:creationId xmlns:a16="http://schemas.microsoft.com/office/drawing/2014/main" id="{D372AC1C-DFDF-BF20-5F6A-6B8B5E17DF08}"/>
              </a:ext>
            </a:extLst>
          </p:cNvPr>
          <p:cNvSpPr txBox="1"/>
          <p:nvPr/>
        </p:nvSpPr>
        <p:spPr>
          <a:xfrm>
            <a:off x="673101" y="1378290"/>
            <a:ext cx="11291336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dirty="0">
                <a:solidFill>
                  <a:srgbClr val="8B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mply, the process involves </a:t>
            </a:r>
            <a:r>
              <a:rPr lang="en-US" b="1" dirty="0">
                <a:solidFill>
                  <a:srgbClr val="8B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thering data</a:t>
            </a:r>
            <a:r>
              <a:rPr lang="en-US" dirty="0">
                <a:solidFill>
                  <a:srgbClr val="8B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processing it through </a:t>
            </a:r>
            <a:r>
              <a:rPr lang="en-US" b="1" dirty="0">
                <a:solidFill>
                  <a:srgbClr val="8B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orithmic pattern recognition</a:t>
            </a:r>
            <a:r>
              <a:rPr lang="en-US" dirty="0">
                <a:solidFill>
                  <a:srgbClr val="8B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rtificially </a:t>
            </a:r>
            <a:r>
              <a:rPr lang="en-US" b="1" dirty="0">
                <a:solidFill>
                  <a:srgbClr val="8B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ting insights</a:t>
            </a:r>
            <a:r>
              <a:rPr lang="en-US" dirty="0">
                <a:solidFill>
                  <a:srgbClr val="8B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delivering the useful information </a:t>
            </a:r>
            <a:r>
              <a:rPr lang="en-US" b="1" dirty="0">
                <a:solidFill>
                  <a:srgbClr val="8B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 to the user</a:t>
            </a:r>
            <a:r>
              <a:rPr lang="en-US" dirty="0">
                <a:solidFill>
                  <a:srgbClr val="8B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b="1" dirty="0">
              <a:solidFill>
                <a:srgbClr val="8B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8E986359-5883-290A-0E33-4260EFAB2581}"/>
              </a:ext>
            </a:extLst>
          </p:cNvPr>
          <p:cNvGrpSpPr/>
          <p:nvPr/>
        </p:nvGrpSpPr>
        <p:grpSpPr>
          <a:xfrm>
            <a:off x="7846420" y="2977219"/>
            <a:ext cx="3833467" cy="3227330"/>
            <a:chOff x="7985760" y="2480828"/>
            <a:chExt cx="3833467" cy="3227330"/>
          </a:xfrm>
        </p:grpSpPr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2662B8B6-87E3-8C75-C1E4-EFE6D74E039C}"/>
                </a:ext>
              </a:extLst>
            </p:cNvPr>
            <p:cNvSpPr/>
            <p:nvPr/>
          </p:nvSpPr>
          <p:spPr>
            <a:xfrm>
              <a:off x="7985760" y="2546077"/>
              <a:ext cx="228600" cy="228600"/>
            </a:xfrm>
            <a:prstGeom prst="ellipse">
              <a:avLst/>
            </a:prstGeom>
            <a:solidFill>
              <a:srgbClr val="74747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/>
                <a:t>1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0668CEE7-411E-C45D-7AF3-30E2674C38AD}"/>
                </a:ext>
              </a:extLst>
            </p:cNvPr>
            <p:cNvSpPr txBox="1"/>
            <p:nvPr/>
          </p:nvSpPr>
          <p:spPr>
            <a:xfrm>
              <a:off x="8363610" y="2480828"/>
              <a:ext cx="3453921" cy="474489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>
              <a:defPPr>
                <a:defRPr lang="en-US"/>
              </a:defPPr>
              <a:lvl1pPr marL="12700" marR="5080">
                <a:lnSpc>
                  <a:spcPct val="100000"/>
                </a:lnSpc>
                <a:spcBef>
                  <a:spcPts val="100"/>
                </a:spcBef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algn="just"/>
              <a:r>
                <a:rPr lang="en-US" sz="1000" dirty="0"/>
                <a:t>User request is captured by the user interface and forwarded to the inference orchestration layer – inference orchestration layer then queries internal and external data sources </a:t>
              </a: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8BF15E83-7D4F-BD41-DD82-1F14592A93BB}"/>
                </a:ext>
              </a:extLst>
            </p:cNvPr>
            <p:cNvSpPr/>
            <p:nvPr/>
          </p:nvSpPr>
          <p:spPr>
            <a:xfrm>
              <a:off x="7985760" y="3104009"/>
              <a:ext cx="228600" cy="228600"/>
            </a:xfrm>
            <a:prstGeom prst="ellipse">
              <a:avLst/>
            </a:prstGeom>
            <a:solidFill>
              <a:srgbClr val="74747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/>
                <a:t>2</a:t>
              </a:r>
            </a:p>
          </p:txBody>
        </p:sp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F9EC014B-8950-1FF8-1CEC-4A74CDD8C147}"/>
                </a:ext>
              </a:extLst>
            </p:cNvPr>
            <p:cNvSpPr/>
            <p:nvPr/>
          </p:nvSpPr>
          <p:spPr>
            <a:xfrm>
              <a:off x="7985760" y="3661941"/>
              <a:ext cx="228600" cy="228600"/>
            </a:xfrm>
            <a:prstGeom prst="ellipse">
              <a:avLst/>
            </a:prstGeom>
            <a:solidFill>
              <a:srgbClr val="74747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/>
                <a:t>3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B674BFC2-485A-5461-FDA1-D3BBE556BDDF}"/>
                </a:ext>
              </a:extLst>
            </p:cNvPr>
            <p:cNvSpPr txBox="1"/>
            <p:nvPr/>
          </p:nvSpPr>
          <p:spPr>
            <a:xfrm>
              <a:off x="8363610" y="3091881"/>
              <a:ext cx="3455617" cy="320601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>
              <a:defPPr>
                <a:defRPr lang="en-US"/>
              </a:defPPr>
              <a:lvl1pPr marL="12700" marR="5080">
                <a:lnSpc>
                  <a:spcPct val="100000"/>
                </a:lnSpc>
                <a:spcBef>
                  <a:spcPts val="100"/>
                </a:spcBef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algn="just"/>
              <a:r>
                <a:rPr lang="en-US" sz="1000" dirty="0"/>
                <a:t>Relevant data is gathered and passed back to the inference orchestration layer</a:t>
              </a:r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E7AB91CB-376F-A980-7D5D-4B654F5C51A0}"/>
                </a:ext>
              </a:extLst>
            </p:cNvPr>
            <p:cNvSpPr/>
            <p:nvPr/>
          </p:nvSpPr>
          <p:spPr>
            <a:xfrm>
              <a:off x="7985760" y="4219873"/>
              <a:ext cx="228600" cy="228600"/>
            </a:xfrm>
            <a:prstGeom prst="ellipse">
              <a:avLst/>
            </a:prstGeom>
            <a:solidFill>
              <a:srgbClr val="74747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/>
                <a:t>4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90198BAD-E8A6-E3E1-B377-A3D02B7A62DB}"/>
                </a:ext>
              </a:extLst>
            </p:cNvPr>
            <p:cNvSpPr txBox="1"/>
            <p:nvPr/>
          </p:nvSpPr>
          <p:spPr>
            <a:xfrm>
              <a:off x="8363610" y="3644061"/>
              <a:ext cx="3455617" cy="320601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>
              <a:defPPr>
                <a:defRPr lang="en-US"/>
              </a:defPPr>
              <a:lvl1pPr marL="12700" marR="5080">
                <a:lnSpc>
                  <a:spcPct val="100000"/>
                </a:lnSpc>
                <a:spcBef>
                  <a:spcPts val="100"/>
                </a:spcBef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algn="just"/>
              <a:r>
                <a:rPr lang="en-US" sz="1000" dirty="0"/>
                <a:t>The inference orchestration layer determines the suitable Large Language Model to use</a:t>
              </a:r>
            </a:p>
          </p:txBody>
        </p:sp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96C1D066-847A-8982-A5A9-30440D6BFE84}"/>
                </a:ext>
              </a:extLst>
            </p:cNvPr>
            <p:cNvSpPr/>
            <p:nvPr/>
          </p:nvSpPr>
          <p:spPr>
            <a:xfrm>
              <a:off x="7985760" y="4777805"/>
              <a:ext cx="228600" cy="228600"/>
            </a:xfrm>
            <a:prstGeom prst="ellipse">
              <a:avLst/>
            </a:prstGeom>
            <a:solidFill>
              <a:srgbClr val="74747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/>
                <a:t>5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2A14A6E5-C140-771B-2DAB-15EACEFFB994}"/>
                </a:ext>
              </a:extLst>
            </p:cNvPr>
            <p:cNvSpPr txBox="1"/>
            <p:nvPr/>
          </p:nvSpPr>
          <p:spPr>
            <a:xfrm>
              <a:off x="8363610" y="4196732"/>
              <a:ext cx="3455617" cy="320601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>
              <a:defPPr>
                <a:defRPr lang="en-US"/>
              </a:defPPr>
              <a:lvl1pPr marL="12700" marR="5080">
                <a:lnSpc>
                  <a:spcPct val="100000"/>
                </a:lnSpc>
                <a:spcBef>
                  <a:spcPts val="100"/>
                </a:spcBef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algn="just"/>
              <a:r>
                <a:rPr lang="en-US" sz="1000" dirty="0"/>
                <a:t>The selected LLM processes the query and returns a response to the inference orchestration layer </a:t>
              </a:r>
            </a:p>
          </p:txBody>
        </p: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7640407D-9997-710C-9DE2-3CBB5BB80041}"/>
                </a:ext>
              </a:extLst>
            </p:cNvPr>
            <p:cNvSpPr/>
            <p:nvPr/>
          </p:nvSpPr>
          <p:spPr>
            <a:xfrm>
              <a:off x="7985760" y="5335736"/>
              <a:ext cx="228600" cy="228600"/>
            </a:xfrm>
            <a:prstGeom prst="ellipse">
              <a:avLst/>
            </a:prstGeom>
            <a:solidFill>
              <a:srgbClr val="74747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/>
                <a:t>6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9DBB904A-862D-9A1B-F9DD-1B59A0468489}"/>
                </a:ext>
              </a:extLst>
            </p:cNvPr>
            <p:cNvSpPr txBox="1"/>
            <p:nvPr/>
          </p:nvSpPr>
          <p:spPr>
            <a:xfrm>
              <a:off x="8361914" y="4758819"/>
              <a:ext cx="3455617" cy="320601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>
              <a:defPPr>
                <a:defRPr lang="en-US"/>
              </a:defPPr>
              <a:lvl1pPr marL="12700" marR="5080">
                <a:lnSpc>
                  <a:spcPct val="100000"/>
                </a:lnSpc>
                <a:spcBef>
                  <a:spcPts val="100"/>
                </a:spcBef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algn="just"/>
              <a:r>
                <a:rPr lang="en-US" sz="1000" dirty="0"/>
                <a:t>The inference orchestration layer sends the final response back to the user interface </a:t>
              </a: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51ED8B2B-3745-D889-0A3A-301023B63458}"/>
                </a:ext>
              </a:extLst>
            </p:cNvPr>
            <p:cNvSpPr txBox="1"/>
            <p:nvPr/>
          </p:nvSpPr>
          <p:spPr>
            <a:xfrm>
              <a:off x="8361914" y="5233669"/>
              <a:ext cx="3455617" cy="474489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>
              <a:defPPr>
                <a:defRPr lang="en-US"/>
              </a:defPPr>
              <a:lvl1pPr marL="12700" marR="5080">
                <a:lnSpc>
                  <a:spcPct val="100000"/>
                </a:lnSpc>
                <a:spcBef>
                  <a:spcPts val="100"/>
                </a:spcBef>
                <a:defRPr sz="12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algn="just"/>
              <a:r>
                <a:rPr lang="en-US" sz="1000" dirty="0"/>
                <a:t>GPUs provide processing power that supports cloud infrastructure – cloud infrastructure provides compute for the   AI ecosystem.</a:t>
              </a:r>
            </a:p>
          </p:txBody>
        </p:sp>
      </p:grp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088EC538-136B-8672-14CB-9025614BEC20}"/>
              </a:ext>
            </a:extLst>
          </p:cNvPr>
          <p:cNvGrpSpPr/>
          <p:nvPr/>
        </p:nvGrpSpPr>
        <p:grpSpPr>
          <a:xfrm>
            <a:off x="673101" y="2865519"/>
            <a:ext cx="6400803" cy="3392583"/>
            <a:chOff x="975357" y="2865519"/>
            <a:chExt cx="6400803" cy="3392583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EC02768E-29CE-798F-92B5-9AB0DE615D80}"/>
                </a:ext>
              </a:extLst>
            </p:cNvPr>
            <p:cNvSpPr/>
            <p:nvPr/>
          </p:nvSpPr>
          <p:spPr>
            <a:xfrm>
              <a:off x="975360" y="2943894"/>
              <a:ext cx="530995" cy="2475646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highlight>
                  <a:srgbClr val="FFFF00"/>
                </a:highlight>
              </a:endParaRP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3F6AF7A0-DF44-1421-EB00-E6D8279EE2DF}"/>
                </a:ext>
              </a:extLst>
            </p:cNvPr>
            <p:cNvSpPr/>
            <p:nvPr/>
          </p:nvSpPr>
          <p:spPr>
            <a:xfrm>
              <a:off x="6845165" y="2961091"/>
              <a:ext cx="530995" cy="2458448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highlight>
                  <a:srgbClr val="FFFF00"/>
                </a:highlight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BD03EC14-1C69-CE67-5D85-481DB74C4A55}"/>
                </a:ext>
              </a:extLst>
            </p:cNvPr>
            <p:cNvSpPr/>
            <p:nvPr/>
          </p:nvSpPr>
          <p:spPr>
            <a:xfrm rot="5400000">
              <a:off x="4416089" y="3084677"/>
              <a:ext cx="1487480" cy="317442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rgbClr val="8B0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accent1">
                    <a:lumMod val="50000"/>
                  </a:schemeClr>
                </a:solidFill>
                <a:highlight>
                  <a:srgbClr val="FFFF00"/>
                </a:highlight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C3EFEEE0-1D4F-7CE1-4801-2667BF85F262}"/>
                </a:ext>
              </a:extLst>
            </p:cNvPr>
            <p:cNvSpPr txBox="1"/>
            <p:nvPr/>
          </p:nvSpPr>
          <p:spPr>
            <a:xfrm>
              <a:off x="4063965" y="4025595"/>
              <a:ext cx="2191729" cy="2539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050" b="1" dirty="0">
                  <a:latin typeface="Arial" panose="020B0604020202020204" pitchFamily="34" charset="0"/>
                  <a:cs typeface="Arial" panose="020B0604020202020204" pitchFamily="34" charset="0"/>
                </a:rPr>
                <a:t>Large Language Models (LLMs)</a:t>
              </a:r>
              <a:endParaRPr lang="en-US" sz="1050" b="1" baseline="30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28949040-73B7-FF11-3919-72FD2CAE9E31}"/>
                </a:ext>
              </a:extLst>
            </p:cNvPr>
            <p:cNvSpPr/>
            <p:nvPr/>
          </p:nvSpPr>
          <p:spPr>
            <a:xfrm>
              <a:off x="3865493" y="4917224"/>
              <a:ext cx="2588672" cy="290768"/>
            </a:xfrm>
            <a:prstGeom prst="roundRect">
              <a:avLst/>
            </a:prstGeom>
            <a:solidFill>
              <a:srgbClr val="8B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Foundational Model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DF1D713F-A6D2-B93E-F1B3-ACB5ACCEB211}"/>
                </a:ext>
              </a:extLst>
            </p:cNvPr>
            <p:cNvSpPr/>
            <p:nvPr/>
          </p:nvSpPr>
          <p:spPr>
            <a:xfrm>
              <a:off x="3865493" y="4458579"/>
              <a:ext cx="2588672" cy="290768"/>
            </a:xfrm>
            <a:prstGeom prst="roundRect">
              <a:avLst/>
            </a:prstGeom>
            <a:solidFill>
              <a:srgbClr val="8B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Industry Specific Model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21687AC-E2F2-440D-BE9D-7BA768647673}"/>
                </a:ext>
              </a:extLst>
            </p:cNvPr>
            <p:cNvSpPr/>
            <p:nvPr/>
          </p:nvSpPr>
          <p:spPr>
            <a:xfrm rot="5400000">
              <a:off x="1818925" y="3726936"/>
              <a:ext cx="1487482" cy="188990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rgbClr val="B5373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accent1">
                    <a:lumMod val="50000"/>
                  </a:schemeClr>
                </a:solidFill>
                <a:highlight>
                  <a:srgbClr val="FFFF00"/>
                </a:highlight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85F148AF-EE82-205B-81F8-17A525E1F5DB}"/>
                </a:ext>
              </a:extLst>
            </p:cNvPr>
            <p:cNvSpPr txBox="1"/>
            <p:nvPr/>
          </p:nvSpPr>
          <p:spPr>
            <a:xfrm>
              <a:off x="2303181" y="4025595"/>
              <a:ext cx="505746" cy="2282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050" b="1" dirty="0">
                  <a:latin typeface="Arial" panose="020B0604020202020204" pitchFamily="34" charset="0"/>
                  <a:cs typeface="Arial" panose="020B0604020202020204" pitchFamily="34" charset="0"/>
                </a:rPr>
                <a:t>Data</a:t>
              </a:r>
              <a:endParaRPr lang="en-US" sz="1050" b="1" baseline="30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AE9C0DD3-F0C1-D85D-A4AD-66C9C3F39C9A}"/>
                </a:ext>
              </a:extLst>
            </p:cNvPr>
            <p:cNvSpPr/>
            <p:nvPr/>
          </p:nvSpPr>
          <p:spPr>
            <a:xfrm>
              <a:off x="1807519" y="4453190"/>
              <a:ext cx="1497070" cy="290768"/>
            </a:xfrm>
            <a:prstGeom prst="roundRect">
              <a:avLst/>
            </a:prstGeom>
            <a:solidFill>
              <a:srgbClr val="B5373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Internal Data</a:t>
              </a: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C56830C9-EC6B-19C8-6587-C50053A302C2}"/>
                </a:ext>
              </a:extLst>
            </p:cNvPr>
            <p:cNvSpPr/>
            <p:nvPr/>
          </p:nvSpPr>
          <p:spPr>
            <a:xfrm>
              <a:off x="1807519" y="4917224"/>
              <a:ext cx="1497070" cy="290768"/>
            </a:xfrm>
            <a:prstGeom prst="roundRect">
              <a:avLst/>
            </a:prstGeom>
            <a:solidFill>
              <a:srgbClr val="B5373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640080" bIns="594360" rtlCol="0" anchor="ctr" anchorCtr="0"/>
            <a:lstStyle/>
            <a:p>
              <a:pPr algn="ctr">
                <a:lnSpc>
                  <a:spcPts val="800"/>
                </a:lnSpc>
              </a:pPr>
              <a:r>
                <a:rPr lang="en-US" sz="1000" dirty="0">
                  <a:solidFill>
                    <a:schemeClr val="bg1"/>
                  </a:solidFill>
                </a:rPr>
                <a:t>External Data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46485A5D-BCAD-833B-8897-2F3112BF52F1}"/>
                </a:ext>
              </a:extLst>
            </p:cNvPr>
            <p:cNvSpPr/>
            <p:nvPr/>
          </p:nvSpPr>
          <p:spPr>
            <a:xfrm>
              <a:off x="975358" y="5472896"/>
              <a:ext cx="6400800" cy="36169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D503E1CA-CB8B-D75B-938F-A06237067CE1}"/>
                </a:ext>
              </a:extLst>
            </p:cNvPr>
            <p:cNvSpPr/>
            <p:nvPr/>
          </p:nvSpPr>
          <p:spPr>
            <a:xfrm>
              <a:off x="975357" y="5896408"/>
              <a:ext cx="6400800" cy="36169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3D2F92DA-17E6-1B29-368F-F7F39C8C3928}"/>
                </a:ext>
              </a:extLst>
            </p:cNvPr>
            <p:cNvSpPr txBox="1"/>
            <p:nvPr/>
          </p:nvSpPr>
          <p:spPr>
            <a:xfrm>
              <a:off x="3271161" y="5948050"/>
              <a:ext cx="1809192" cy="2539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050" b="1" dirty="0">
                  <a:latin typeface="Arial" panose="020B0604020202020204" pitchFamily="34" charset="0"/>
                  <a:cs typeface="Arial" panose="020B0604020202020204" pitchFamily="34" charset="0"/>
                </a:rPr>
                <a:t>Semiconductor Hardware</a:t>
              </a:r>
              <a:endParaRPr lang="en-US" sz="1050" b="1" baseline="30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EE40EC70-7877-7055-85E9-8871C33933C2}"/>
                </a:ext>
              </a:extLst>
            </p:cNvPr>
            <p:cNvSpPr txBox="1"/>
            <p:nvPr/>
          </p:nvSpPr>
          <p:spPr>
            <a:xfrm>
              <a:off x="3042029" y="5533465"/>
              <a:ext cx="2267459" cy="2539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050" b="1" dirty="0">
                  <a:latin typeface="Arial" panose="020B0604020202020204" pitchFamily="34" charset="0"/>
                  <a:cs typeface="Arial" panose="020B0604020202020204" pitchFamily="34" charset="0"/>
                </a:rPr>
                <a:t>Cloud Computing Infrastructure</a:t>
              </a:r>
              <a:endParaRPr lang="en-US" sz="1050" b="1" baseline="30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D42A96A5-F861-782A-B3D1-C2A4DAFDE97C}"/>
                </a:ext>
              </a:extLst>
            </p:cNvPr>
            <p:cNvSpPr/>
            <p:nvPr/>
          </p:nvSpPr>
          <p:spPr>
            <a:xfrm rot="5400000">
              <a:off x="3962792" y="592884"/>
              <a:ext cx="452398" cy="514255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rgbClr val="DC989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accent1">
                    <a:lumMod val="50000"/>
                  </a:schemeClr>
                </a:solidFill>
                <a:highlight>
                  <a:srgbClr val="FFFF00"/>
                </a:highlight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D4AA9E7A-5DF5-95BA-4802-56C105B46664}"/>
                </a:ext>
              </a:extLst>
            </p:cNvPr>
            <p:cNvSpPr/>
            <p:nvPr/>
          </p:nvSpPr>
          <p:spPr>
            <a:xfrm rot="5400000">
              <a:off x="3985931" y="1087051"/>
              <a:ext cx="406120" cy="514255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rgbClr val="C7656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accent1">
                    <a:lumMod val="50000"/>
                  </a:schemeClr>
                </a:solidFill>
                <a:highlight>
                  <a:srgbClr val="FFFF00"/>
                </a:highlight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3210289D-7830-D5EE-AF14-3E40277EFC93}"/>
                </a:ext>
              </a:extLst>
            </p:cNvPr>
            <p:cNvSpPr txBox="1"/>
            <p:nvPr/>
          </p:nvSpPr>
          <p:spPr>
            <a:xfrm>
              <a:off x="3141173" y="3531369"/>
              <a:ext cx="2163678" cy="2539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050" b="1" dirty="0">
                  <a:latin typeface="Arial" panose="020B0604020202020204" pitchFamily="34" charset="0"/>
                  <a:cs typeface="Arial" panose="020B0604020202020204" pitchFamily="34" charset="0"/>
                </a:rPr>
                <a:t>Inference Orchestration Layer</a:t>
              </a:r>
              <a:endParaRPr lang="en-US" sz="1050" b="1" baseline="30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107BF86-8A84-5457-F59C-33463CD9E6A9}"/>
                </a:ext>
              </a:extLst>
            </p:cNvPr>
            <p:cNvSpPr txBox="1"/>
            <p:nvPr/>
          </p:nvSpPr>
          <p:spPr>
            <a:xfrm>
              <a:off x="3426989" y="3016999"/>
              <a:ext cx="1524005" cy="2351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050" b="1" dirty="0">
                  <a:latin typeface="Arial" panose="020B0604020202020204" pitchFamily="34" charset="0"/>
                  <a:cs typeface="Arial" panose="020B0604020202020204" pitchFamily="34" charset="0"/>
                </a:rPr>
                <a:t>User Interface (UX)</a:t>
              </a:r>
              <a:endParaRPr lang="en-US" sz="1050" b="1" baseline="30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51" name="Connector: Curved 50">
              <a:extLst>
                <a:ext uri="{FF2B5EF4-FFF2-40B4-BE49-F238E27FC236}">
                  <a16:creationId xmlns:a16="http://schemas.microsoft.com/office/drawing/2014/main" id="{3AABFD8F-8133-F812-7245-360B6116BF56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4167162" y="-60785"/>
              <a:ext cx="17198" cy="5869805"/>
            </a:xfrm>
            <a:prstGeom prst="curvedConnector3">
              <a:avLst>
                <a:gd name="adj1" fmla="val -3092104"/>
              </a:avLst>
            </a:prstGeom>
            <a:ln>
              <a:solidFill>
                <a:schemeClr val="bg1">
                  <a:lumMod val="65000"/>
                </a:schemeClr>
              </a:solidFill>
              <a:headEnd type="triangle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42BF0133-8745-066E-4BA6-F2BAEB92FD19}"/>
                </a:ext>
              </a:extLst>
            </p:cNvPr>
            <p:cNvSpPr txBox="1"/>
            <p:nvPr/>
          </p:nvSpPr>
          <p:spPr>
            <a:xfrm rot="16200000">
              <a:off x="471830" y="4043218"/>
              <a:ext cx="150828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b="1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gital Ecosystem</a:t>
              </a:r>
              <a:endParaRPr lang="en-US" sz="1200" b="1" baseline="30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4853B7B9-2735-9432-8018-2D5654820975}"/>
                </a:ext>
              </a:extLst>
            </p:cNvPr>
            <p:cNvSpPr txBox="1"/>
            <p:nvPr/>
          </p:nvSpPr>
          <p:spPr>
            <a:xfrm rot="5400000">
              <a:off x="6356340" y="4051816"/>
              <a:ext cx="1508286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b="1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gital Ecosystem</a:t>
              </a:r>
              <a:endParaRPr lang="en-US" sz="1200" b="1" baseline="30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Arrow: Down 76">
              <a:extLst>
                <a:ext uri="{FF2B5EF4-FFF2-40B4-BE49-F238E27FC236}">
                  <a16:creationId xmlns:a16="http://schemas.microsoft.com/office/drawing/2014/main" id="{6C796528-C285-A8D2-024E-AF7112F957CD}"/>
                </a:ext>
              </a:extLst>
            </p:cNvPr>
            <p:cNvSpPr/>
            <p:nvPr/>
          </p:nvSpPr>
          <p:spPr>
            <a:xfrm>
              <a:off x="1626481" y="3080210"/>
              <a:ext cx="368848" cy="1101507"/>
            </a:xfrm>
            <a:prstGeom prst="downArrow">
              <a:avLst/>
            </a:prstGeom>
            <a:solidFill>
              <a:srgbClr val="74747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r>
                <a:rPr lang="en-US" sz="800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101" name="Arrow: Up 100">
              <a:extLst>
                <a:ext uri="{FF2B5EF4-FFF2-40B4-BE49-F238E27FC236}">
                  <a16:creationId xmlns:a16="http://schemas.microsoft.com/office/drawing/2014/main" id="{9E454C45-F02E-1380-5645-353350A014D4}"/>
                </a:ext>
              </a:extLst>
            </p:cNvPr>
            <p:cNvSpPr/>
            <p:nvPr/>
          </p:nvSpPr>
          <p:spPr>
            <a:xfrm>
              <a:off x="2745884" y="3589690"/>
              <a:ext cx="368848" cy="592028"/>
            </a:xfrm>
            <a:prstGeom prst="upArrow">
              <a:avLst/>
            </a:prstGeom>
            <a:solidFill>
              <a:srgbClr val="74747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r>
                <a:rPr lang="en-US" sz="800" b="1" dirty="0">
                  <a:solidFill>
                    <a:schemeClr val="bg1"/>
                  </a:solidFill>
                </a:rPr>
                <a:t>2</a:t>
              </a:r>
            </a:p>
          </p:txBody>
        </p:sp>
        <p:cxnSp>
          <p:nvCxnSpPr>
            <p:cNvPr id="103" name="Connector: Elbow 102">
              <a:extLst>
                <a:ext uri="{FF2B5EF4-FFF2-40B4-BE49-F238E27FC236}">
                  <a16:creationId xmlns:a16="http://schemas.microsoft.com/office/drawing/2014/main" id="{B4AE604D-63D4-9157-86BB-91FB7F3E82F3}"/>
                </a:ext>
              </a:extLst>
            </p:cNvPr>
            <p:cNvCxnSpPr>
              <a:cxnSpLocks/>
              <a:stCxn id="44" idx="3"/>
              <a:endCxn id="28" idx="3"/>
            </p:cNvCxnSpPr>
            <p:nvPr/>
          </p:nvCxnSpPr>
          <p:spPr>
            <a:xfrm>
              <a:off x="5304851" y="3658327"/>
              <a:ext cx="1149314" cy="945636"/>
            </a:xfrm>
            <a:prstGeom prst="bentConnector3">
              <a:avLst>
                <a:gd name="adj1" fmla="val 119890"/>
              </a:avLst>
            </a:prstGeom>
            <a:ln>
              <a:solidFill>
                <a:srgbClr val="3A3A3A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Connector: Elbow 110">
              <a:extLst>
                <a:ext uri="{FF2B5EF4-FFF2-40B4-BE49-F238E27FC236}">
                  <a16:creationId xmlns:a16="http://schemas.microsoft.com/office/drawing/2014/main" id="{35223BBF-A456-6819-475E-8AB5BAB806E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6342718" y="4727439"/>
              <a:ext cx="464034" cy="206304"/>
            </a:xfrm>
            <a:prstGeom prst="bentConnector2">
              <a:avLst/>
            </a:prstGeom>
            <a:ln>
              <a:solidFill>
                <a:srgbClr val="3A3A3A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9BFA461B-381E-520C-44AC-644D1E9D9164}"/>
                </a:ext>
              </a:extLst>
            </p:cNvPr>
            <p:cNvSpPr/>
            <p:nvPr/>
          </p:nvSpPr>
          <p:spPr>
            <a:xfrm>
              <a:off x="6539992" y="3484862"/>
              <a:ext cx="137160" cy="137160"/>
            </a:xfrm>
            <a:prstGeom prst="ellipse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/>
                <a:t>3</a:t>
              </a:r>
            </a:p>
          </p:txBody>
        </p:sp>
        <p:cxnSp>
          <p:nvCxnSpPr>
            <p:cNvPr id="139" name="Connector: Elbow 138">
              <a:extLst>
                <a:ext uri="{FF2B5EF4-FFF2-40B4-BE49-F238E27FC236}">
                  <a16:creationId xmlns:a16="http://schemas.microsoft.com/office/drawing/2014/main" id="{A4CD6220-6E38-9D63-04B8-D9B8F96B0343}"/>
                </a:ext>
              </a:extLst>
            </p:cNvPr>
            <p:cNvCxnSpPr>
              <a:cxnSpLocks/>
              <a:stCxn id="27" idx="1"/>
              <a:endCxn id="44" idx="2"/>
            </p:cNvCxnSpPr>
            <p:nvPr/>
          </p:nvCxnSpPr>
          <p:spPr>
            <a:xfrm rot="10800000" flipH="1">
              <a:off x="3865492" y="3785286"/>
              <a:ext cx="357519" cy="1277323"/>
            </a:xfrm>
            <a:prstGeom prst="bentConnector4">
              <a:avLst>
                <a:gd name="adj1" fmla="val -63941"/>
                <a:gd name="adj2" fmla="val 81599"/>
              </a:avLst>
            </a:prstGeom>
            <a:ln>
              <a:solidFill>
                <a:srgbClr val="3A3A3A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Connector: Elbow 143">
              <a:extLst>
                <a:ext uri="{FF2B5EF4-FFF2-40B4-BE49-F238E27FC236}">
                  <a16:creationId xmlns:a16="http://schemas.microsoft.com/office/drawing/2014/main" id="{96A39312-5B6F-C180-5148-27B63E497C2F}"/>
                </a:ext>
              </a:extLst>
            </p:cNvPr>
            <p:cNvCxnSpPr>
              <a:stCxn id="28" idx="1"/>
            </p:cNvCxnSpPr>
            <p:nvPr/>
          </p:nvCxnSpPr>
          <p:spPr>
            <a:xfrm rot="10800000">
              <a:off x="3865491" y="4025595"/>
              <a:ext cx="2" cy="578368"/>
            </a:xfrm>
            <a:prstGeom prst="bentConnector2">
              <a:avLst/>
            </a:prstGeom>
            <a:ln>
              <a:solidFill>
                <a:srgbClr val="3A3A3A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Oval 144">
              <a:extLst>
                <a:ext uri="{FF2B5EF4-FFF2-40B4-BE49-F238E27FC236}">
                  <a16:creationId xmlns:a16="http://schemas.microsoft.com/office/drawing/2014/main" id="{C7F46E3C-98F4-6D3E-9F89-3E7C71F048F5}"/>
                </a:ext>
              </a:extLst>
            </p:cNvPr>
            <p:cNvSpPr/>
            <p:nvPr/>
          </p:nvSpPr>
          <p:spPr>
            <a:xfrm>
              <a:off x="3687923" y="4071409"/>
              <a:ext cx="155448" cy="156557"/>
            </a:xfrm>
            <a:prstGeom prst="ellipse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 b="1" dirty="0"/>
                <a:t>4</a:t>
              </a:r>
            </a:p>
          </p:txBody>
        </p:sp>
        <p:sp>
          <p:nvSpPr>
            <p:cNvPr id="146" name="Arrow: Up 145">
              <a:extLst>
                <a:ext uri="{FF2B5EF4-FFF2-40B4-BE49-F238E27FC236}">
                  <a16:creationId xmlns:a16="http://schemas.microsoft.com/office/drawing/2014/main" id="{55DF07F4-FAE9-0BE3-B72A-1816723C7DE0}"/>
                </a:ext>
              </a:extLst>
            </p:cNvPr>
            <p:cNvSpPr/>
            <p:nvPr/>
          </p:nvSpPr>
          <p:spPr>
            <a:xfrm>
              <a:off x="5448782" y="3078064"/>
              <a:ext cx="368848" cy="518446"/>
            </a:xfrm>
            <a:prstGeom prst="upArrow">
              <a:avLst/>
            </a:prstGeom>
            <a:solidFill>
              <a:srgbClr val="74747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r>
                <a:rPr lang="en-US" sz="800" b="1" dirty="0">
                  <a:solidFill>
                    <a:schemeClr val="bg1"/>
                  </a:solidFill>
                </a:rPr>
                <a:t>5</a:t>
              </a:r>
            </a:p>
          </p:txBody>
        </p:sp>
        <p:sp>
          <p:nvSpPr>
            <p:cNvPr id="147" name="Arrow: Up 146">
              <a:extLst>
                <a:ext uri="{FF2B5EF4-FFF2-40B4-BE49-F238E27FC236}">
                  <a16:creationId xmlns:a16="http://schemas.microsoft.com/office/drawing/2014/main" id="{06C0A4F3-99EF-69AB-2E64-B45AD5105521}"/>
                </a:ext>
              </a:extLst>
            </p:cNvPr>
            <p:cNvSpPr/>
            <p:nvPr/>
          </p:nvSpPr>
          <p:spPr>
            <a:xfrm>
              <a:off x="6926059" y="5155810"/>
              <a:ext cx="368848" cy="1028202"/>
            </a:xfrm>
            <a:prstGeom prst="upArrow">
              <a:avLst/>
            </a:prstGeom>
            <a:solidFill>
              <a:srgbClr val="74747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r>
                <a:rPr lang="en-US" sz="800" b="1" dirty="0">
                  <a:solidFill>
                    <a:schemeClr val="bg1"/>
                  </a:solidFill>
                </a:rPr>
                <a:t>6</a:t>
              </a:r>
            </a:p>
          </p:txBody>
        </p:sp>
        <p:sp>
          <p:nvSpPr>
            <p:cNvPr id="149" name="Arrow: Up 148">
              <a:extLst>
                <a:ext uri="{FF2B5EF4-FFF2-40B4-BE49-F238E27FC236}">
                  <a16:creationId xmlns:a16="http://schemas.microsoft.com/office/drawing/2014/main" id="{895F3126-C253-0E98-9158-2CB86B53AE55}"/>
                </a:ext>
              </a:extLst>
            </p:cNvPr>
            <p:cNvSpPr/>
            <p:nvPr/>
          </p:nvSpPr>
          <p:spPr>
            <a:xfrm>
              <a:off x="1053365" y="5155809"/>
              <a:ext cx="368848" cy="1028202"/>
            </a:xfrm>
            <a:prstGeom prst="upArrow">
              <a:avLst/>
            </a:prstGeom>
            <a:solidFill>
              <a:srgbClr val="74747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/>
            <a:lstStyle/>
            <a:p>
              <a:pPr algn="ctr"/>
              <a:r>
                <a:rPr lang="en-US" sz="800" b="1" dirty="0">
                  <a:solidFill>
                    <a:schemeClr val="bg1"/>
                  </a:solidFill>
                </a:rPr>
                <a:t>6</a:t>
              </a:r>
            </a:p>
          </p:txBody>
        </p:sp>
      </p:grpSp>
      <p:sp>
        <p:nvSpPr>
          <p:cNvPr id="153" name="object 9">
            <a:extLst>
              <a:ext uri="{FF2B5EF4-FFF2-40B4-BE49-F238E27FC236}">
                <a16:creationId xmlns:a16="http://schemas.microsoft.com/office/drawing/2014/main" id="{8B05283A-D95F-9026-0B3D-004082EDDA12}"/>
              </a:ext>
            </a:extLst>
          </p:cNvPr>
          <p:cNvSpPr txBox="1"/>
          <p:nvPr/>
        </p:nvSpPr>
        <p:spPr>
          <a:xfrm>
            <a:off x="10501313" y="6678960"/>
            <a:ext cx="1670760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800" i="1" spc="-5" dirty="0">
                <a:solidFill>
                  <a:srgbClr val="5B5E5A"/>
                </a:solidFill>
                <a:latin typeface="Calibri"/>
                <a:cs typeface="Calibri"/>
              </a:rPr>
              <a:t>Source: PwC “The </a:t>
            </a:r>
            <a:r>
              <a:rPr lang="en-US" sz="800" i="1" spc="-5" dirty="0" err="1">
                <a:solidFill>
                  <a:srgbClr val="5B5E5A"/>
                </a:solidFill>
                <a:latin typeface="Calibri"/>
                <a:cs typeface="Calibri"/>
              </a:rPr>
              <a:t>GenAI</a:t>
            </a:r>
            <a:r>
              <a:rPr lang="en-US" sz="800" i="1" spc="-5" dirty="0">
                <a:solidFill>
                  <a:srgbClr val="5B5E5A"/>
                </a:solidFill>
                <a:latin typeface="Calibri"/>
                <a:cs typeface="Calibri"/>
              </a:rPr>
              <a:t> Building Blocks</a:t>
            </a:r>
            <a:endParaRPr sz="800" i="1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08602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3">
            <a:extLst>
              <a:ext uri="{FF2B5EF4-FFF2-40B4-BE49-F238E27FC236}">
                <a16:creationId xmlns:a16="http://schemas.microsoft.com/office/drawing/2014/main" id="{B78FD69E-A913-AB72-7388-F9C0CDB98791}"/>
              </a:ext>
            </a:extLst>
          </p:cNvPr>
          <p:cNvSpPr txBox="1"/>
          <p:nvPr/>
        </p:nvSpPr>
        <p:spPr>
          <a:xfrm>
            <a:off x="1358899" y="2823714"/>
            <a:ext cx="8880656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4800" spc="-10" dirty="0">
                <a:solidFill>
                  <a:srgbClr val="8B0000"/>
                </a:solidFill>
                <a:latin typeface="Georgia" panose="02040502050405020303" pitchFamily="18" charset="0"/>
                <a:cs typeface="Calibri"/>
              </a:rPr>
              <a:t>The C-Suite Challenge in 2024</a:t>
            </a:r>
            <a:endParaRPr sz="4800" dirty="0">
              <a:solidFill>
                <a:srgbClr val="8B0000"/>
              </a:solidFill>
              <a:latin typeface="Georgia" panose="02040502050405020303" pitchFamily="18" charset="0"/>
              <a:cs typeface="Calibri"/>
            </a:endParaRP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4E9F585E-56D4-3165-2C7F-474DECC838ED}"/>
              </a:ext>
            </a:extLst>
          </p:cNvPr>
          <p:cNvSpPr txBox="1"/>
          <p:nvPr/>
        </p:nvSpPr>
        <p:spPr>
          <a:xfrm>
            <a:off x="1358899" y="4018801"/>
            <a:ext cx="1645557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175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S</a:t>
            </a:r>
            <a:r>
              <a:rPr sz="2400" spc="85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EC</a:t>
            </a:r>
            <a:r>
              <a:rPr sz="2400" spc="11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T</a:t>
            </a:r>
            <a:r>
              <a:rPr sz="2400" spc="25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I</a:t>
            </a:r>
            <a:r>
              <a:rPr sz="240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ON</a:t>
            </a:r>
            <a:r>
              <a:rPr sz="2400" spc="-80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 </a:t>
            </a:r>
            <a:r>
              <a:rPr lang="en-US" sz="2400" spc="-25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cs typeface="Calibri"/>
              </a:rPr>
              <a:t>3</a:t>
            </a:r>
            <a:endParaRPr sz="2400" dirty="0">
              <a:solidFill>
                <a:schemeClr val="bg2">
                  <a:lumMod val="50000"/>
                </a:schemeClr>
              </a:solidFill>
              <a:latin typeface="Georgia" panose="02040502050405020303" pitchFamily="18" charset="0"/>
              <a:cs typeface="Calibri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E50727D-C2A0-6CD5-1DC9-BFB0D0E4B63C}"/>
              </a:ext>
            </a:extLst>
          </p:cNvPr>
          <p:cNvSpPr/>
          <p:nvPr/>
        </p:nvSpPr>
        <p:spPr>
          <a:xfrm>
            <a:off x="1" y="5939246"/>
            <a:ext cx="12191999" cy="217714"/>
          </a:xfrm>
          <a:prstGeom prst="rect">
            <a:avLst/>
          </a:prstGeom>
          <a:solidFill>
            <a:srgbClr val="8B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B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93507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AutoShape 249">
            <a:extLst>
              <a:ext uri="{FF2B5EF4-FFF2-40B4-BE49-F238E27FC236}">
                <a16:creationId xmlns:a16="http://schemas.microsoft.com/office/drawing/2014/main" id="{CAA1AB46-215F-584C-0810-ADB948E993D0}"/>
              </a:ext>
            </a:extLst>
          </p:cNvPr>
          <p:cNvCxnSpPr>
            <a:cxnSpLocks noChangeShapeType="1"/>
            <a:stCxn id="5" idx="4"/>
            <a:endCxn id="5" idx="6"/>
          </p:cNvCxnSpPr>
          <p:nvPr/>
        </p:nvCxnSpPr>
        <p:spPr bwMode="auto">
          <a:xfrm>
            <a:off x="2076598" y="1626759"/>
            <a:ext cx="1570038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" name="AutoShape 250">
            <a:extLst>
              <a:ext uri="{FF2B5EF4-FFF2-40B4-BE49-F238E27FC236}">
                <a16:creationId xmlns:a16="http://schemas.microsoft.com/office/drawing/2014/main" id="{C0468C2B-2B0D-489F-945D-E78C22E53F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76598" y="1423635"/>
            <a:ext cx="1570038" cy="20312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latin typeface="Georgia" panose="02040502050405020303" pitchFamily="18" charset="0"/>
                <a:ea typeface="ＭＳ Ｐゴシック"/>
              </a:rPr>
              <a:t>7S Framework</a:t>
            </a:r>
          </a:p>
        </p:txBody>
      </p:sp>
      <p:cxnSp>
        <p:nvCxnSpPr>
          <p:cNvPr id="10" name="AutoShape 249">
            <a:extLst>
              <a:ext uri="{FF2B5EF4-FFF2-40B4-BE49-F238E27FC236}">
                <a16:creationId xmlns:a16="http://schemas.microsoft.com/office/drawing/2014/main" id="{2B93374E-850C-B341-63C1-60B4B9C370E8}"/>
              </a:ext>
            </a:extLst>
          </p:cNvPr>
          <p:cNvCxnSpPr>
            <a:cxnSpLocks noChangeShapeType="1"/>
            <a:stCxn id="11" idx="4"/>
            <a:endCxn id="11" idx="6"/>
          </p:cNvCxnSpPr>
          <p:nvPr/>
        </p:nvCxnSpPr>
        <p:spPr bwMode="auto">
          <a:xfrm>
            <a:off x="7697355" y="1626763"/>
            <a:ext cx="3591089" cy="0"/>
          </a:xfrm>
          <a:prstGeom prst="straightConnector1">
            <a:avLst/>
          </a:prstGeom>
          <a:noFill/>
          <a:ln w="9525">
            <a:solidFill>
              <a:srgbClr val="8B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AutoShape 250">
            <a:extLst>
              <a:ext uri="{FF2B5EF4-FFF2-40B4-BE49-F238E27FC236}">
                <a16:creationId xmlns:a16="http://schemas.microsoft.com/office/drawing/2014/main" id="{C2057850-1618-D882-7F94-5F1EB0E3A0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7355" y="1423639"/>
            <a:ext cx="3591089" cy="20312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8B0000"/>
                </a:solidFill>
                <a:latin typeface="Georgia" panose="02040502050405020303" pitchFamily="18" charset="0"/>
                <a:ea typeface="ＭＳ Ｐゴシック"/>
              </a:rPr>
              <a:t>Gen AI Transformation</a:t>
            </a:r>
            <a:endParaRPr lang="en-US" sz="1200" dirty="0">
              <a:solidFill>
                <a:srgbClr val="8B0000"/>
              </a:solidFill>
              <a:latin typeface="Georgia" panose="02040502050405020303" pitchFamily="18" charset="0"/>
              <a:ea typeface="ＭＳ Ｐゴシック"/>
            </a:endParaRPr>
          </a:p>
        </p:txBody>
      </p:sp>
      <p:sp>
        <p:nvSpPr>
          <p:cNvPr id="17" name="Text Placeholder 240">
            <a:extLst>
              <a:ext uri="{FF2B5EF4-FFF2-40B4-BE49-F238E27FC236}">
                <a16:creationId xmlns:a16="http://schemas.microsoft.com/office/drawing/2014/main" id="{A32291C7-5ED5-75E2-018B-D7072DBD7DF7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2071018" y="1871620"/>
            <a:ext cx="1241425" cy="203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rategy</a:t>
            </a:r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ext Placeholder 241">
            <a:extLst>
              <a:ext uri="{FF2B5EF4-FFF2-40B4-BE49-F238E27FC236}">
                <a16:creationId xmlns:a16="http://schemas.microsoft.com/office/drawing/2014/main" id="{FB8D6AF2-B608-C346-C3C7-5F4BE9BA1514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2078480" y="5922957"/>
            <a:ext cx="12414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yle</a:t>
            </a:r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Text Placeholder 242">
            <a:extLst>
              <a:ext uri="{FF2B5EF4-FFF2-40B4-BE49-F238E27FC236}">
                <a16:creationId xmlns:a16="http://schemas.microsoft.com/office/drawing/2014/main" id="{51121C87-A51A-D1E5-2331-81F55141D79C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078480" y="5239666"/>
            <a:ext cx="15478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chemeClr val="tx1"/>
                </a:solidFill>
              </a:rPr>
              <a:t>Staff</a:t>
            </a:r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Text Placeholder 244">
            <a:extLst>
              <a:ext uri="{FF2B5EF4-FFF2-40B4-BE49-F238E27FC236}">
                <a16:creationId xmlns:a16="http://schemas.microsoft.com/office/drawing/2014/main" id="{2E301770-C394-CADB-8269-EF9A401338DE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076594" y="3858890"/>
            <a:ext cx="6413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chemeClr val="tx1"/>
                </a:solidFill>
              </a:rPr>
              <a:t>Shared Values</a:t>
            </a:r>
          </a:p>
        </p:txBody>
      </p:sp>
      <p:sp>
        <p:nvSpPr>
          <p:cNvPr id="22" name="Text Placeholder 243">
            <a:extLst>
              <a:ext uri="{FF2B5EF4-FFF2-40B4-BE49-F238E27FC236}">
                <a16:creationId xmlns:a16="http://schemas.microsoft.com/office/drawing/2014/main" id="{7851C8CB-FA09-FCD3-635B-61E3EA2321A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086020" y="4564948"/>
            <a:ext cx="9366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chemeClr val="tx1"/>
                </a:solidFill>
              </a:rPr>
              <a:t>Skills</a:t>
            </a:r>
            <a:endParaRPr lang="de-DE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51" name="AutoShape 249">
            <a:extLst>
              <a:ext uri="{FF2B5EF4-FFF2-40B4-BE49-F238E27FC236}">
                <a16:creationId xmlns:a16="http://schemas.microsoft.com/office/drawing/2014/main" id="{463D60D4-2E84-849D-1F78-EE38CA722DC7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082250" y="2273089"/>
            <a:ext cx="9261237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5" name="object 34">
            <a:extLst>
              <a:ext uri="{FF2B5EF4-FFF2-40B4-BE49-F238E27FC236}">
                <a16:creationId xmlns:a16="http://schemas.microsoft.com/office/drawing/2014/main" id="{3DC74743-DC50-A487-7F3E-274BE0538FB2}"/>
              </a:ext>
            </a:extLst>
          </p:cNvPr>
          <p:cNvSpPr txBox="1"/>
          <p:nvPr/>
        </p:nvSpPr>
        <p:spPr>
          <a:xfrm>
            <a:off x="463491" y="363880"/>
            <a:ext cx="11528788" cy="7514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en-US"/>
            </a:defPPr>
            <a:lvl1pPr marL="12700">
              <a:lnSpc>
                <a:spcPct val="100000"/>
              </a:lnSpc>
              <a:spcBef>
                <a:spcPts val="100"/>
              </a:spcBef>
              <a:defRPr sz="2800" spc="10">
                <a:solidFill>
                  <a:srgbClr val="8B0000"/>
                </a:solidFill>
                <a:latin typeface="Georgia" panose="02040502050405020303" pitchFamily="18" charset="0"/>
                <a:cs typeface="Calibri"/>
              </a:defRPr>
            </a:lvl1pPr>
          </a:lstStyle>
          <a:p>
            <a:r>
              <a:rPr lang="en-US" sz="2400" dirty="0"/>
              <a:t>The AI transformation is unlike any predating business transformation – requiring company wide, strategic change and new levels of technical understanding</a:t>
            </a:r>
            <a:endParaRPr sz="2400" dirty="0"/>
          </a:p>
        </p:txBody>
      </p:sp>
      <p:cxnSp>
        <p:nvCxnSpPr>
          <p:cNvPr id="56" name="AutoShape 249">
            <a:extLst>
              <a:ext uri="{FF2B5EF4-FFF2-40B4-BE49-F238E27FC236}">
                <a16:creationId xmlns:a16="http://schemas.microsoft.com/office/drawing/2014/main" id="{EE2E1492-DC84-3A1F-2000-19C7DBF95C79}"/>
              </a:ext>
            </a:extLst>
          </p:cNvPr>
          <p:cNvCxnSpPr>
            <a:cxnSpLocks noChangeShapeType="1"/>
            <a:stCxn id="57" idx="4"/>
            <a:endCxn id="57" idx="6"/>
          </p:cNvCxnSpPr>
          <p:nvPr/>
        </p:nvCxnSpPr>
        <p:spPr bwMode="auto">
          <a:xfrm>
            <a:off x="3918757" y="1626763"/>
            <a:ext cx="3321965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7" name="AutoShape 250">
            <a:extLst>
              <a:ext uri="{FF2B5EF4-FFF2-40B4-BE49-F238E27FC236}">
                <a16:creationId xmlns:a16="http://schemas.microsoft.com/office/drawing/2014/main" id="{5A4BDE39-308B-7A50-A28B-7FD3850A1D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8757" y="1423639"/>
            <a:ext cx="3321965" cy="20312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  <a:ea typeface="ＭＳ Ｐゴシック"/>
              </a:rPr>
              <a:t>Traditional Digital Transformation</a:t>
            </a:r>
            <a:endParaRPr lang="en-US" sz="1200" dirty="0">
              <a:solidFill>
                <a:schemeClr val="bg2">
                  <a:lumMod val="50000"/>
                </a:schemeClr>
              </a:solidFill>
              <a:latin typeface="Georgia" panose="02040502050405020303" pitchFamily="18" charset="0"/>
              <a:ea typeface="ＭＳ Ｐゴシック"/>
            </a:endParaRPr>
          </a:p>
        </p:txBody>
      </p:sp>
      <p:sp>
        <p:nvSpPr>
          <p:cNvPr id="33" name="Text Placeholder 244">
            <a:extLst>
              <a:ext uri="{FF2B5EF4-FFF2-40B4-BE49-F238E27FC236}">
                <a16:creationId xmlns:a16="http://schemas.microsoft.com/office/drawing/2014/main" id="{6990BD71-2465-4379-A4D7-7FBCAA4652A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086020" y="3184143"/>
            <a:ext cx="6413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chemeClr val="tx1"/>
                </a:solidFill>
              </a:rPr>
              <a:t>Systems </a:t>
            </a:r>
          </a:p>
        </p:txBody>
      </p:sp>
      <p:cxnSp>
        <p:nvCxnSpPr>
          <p:cNvPr id="44" name="AutoShape 249">
            <a:extLst>
              <a:ext uri="{FF2B5EF4-FFF2-40B4-BE49-F238E27FC236}">
                <a16:creationId xmlns:a16="http://schemas.microsoft.com/office/drawing/2014/main" id="{3B659461-FA33-7401-DDB9-AB3FE12E2C8D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087905" y="2955881"/>
            <a:ext cx="9255582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AutoShape 249">
            <a:extLst>
              <a:ext uri="{FF2B5EF4-FFF2-40B4-BE49-F238E27FC236}">
                <a16:creationId xmlns:a16="http://schemas.microsoft.com/office/drawing/2014/main" id="{0BF7C498-9F43-B2B0-5AD1-F351595E3CFD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080365" y="3638673"/>
            <a:ext cx="9263122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6" name="AutoShape 249">
            <a:extLst>
              <a:ext uri="{FF2B5EF4-FFF2-40B4-BE49-F238E27FC236}">
                <a16:creationId xmlns:a16="http://schemas.microsoft.com/office/drawing/2014/main" id="{34403E40-D023-6694-DE9A-B298D1D5E0F2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086020" y="4321465"/>
            <a:ext cx="9257467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AutoShape 249">
            <a:extLst>
              <a:ext uri="{FF2B5EF4-FFF2-40B4-BE49-F238E27FC236}">
                <a16:creationId xmlns:a16="http://schemas.microsoft.com/office/drawing/2014/main" id="{42F3EEA1-3174-39A6-A3F1-8EAF0371F615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084135" y="5004257"/>
            <a:ext cx="9259352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8" name="Text Placeholder 244">
            <a:extLst>
              <a:ext uri="{FF2B5EF4-FFF2-40B4-BE49-F238E27FC236}">
                <a16:creationId xmlns:a16="http://schemas.microsoft.com/office/drawing/2014/main" id="{DE545F7E-B13E-7023-A593-F038A6EA5D7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076594" y="2495006"/>
            <a:ext cx="6413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de-DE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chemeClr val="tx1"/>
                </a:solidFill>
              </a:rPr>
              <a:t>Structure</a:t>
            </a:r>
          </a:p>
        </p:txBody>
      </p:sp>
      <p:cxnSp>
        <p:nvCxnSpPr>
          <p:cNvPr id="49" name="AutoShape 249">
            <a:extLst>
              <a:ext uri="{FF2B5EF4-FFF2-40B4-BE49-F238E27FC236}">
                <a16:creationId xmlns:a16="http://schemas.microsoft.com/office/drawing/2014/main" id="{CCC02089-2152-49D2-C675-0383ED3E851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078480" y="5687049"/>
            <a:ext cx="9265007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3" name="AutoShape 249">
            <a:extLst>
              <a:ext uri="{FF2B5EF4-FFF2-40B4-BE49-F238E27FC236}">
                <a16:creationId xmlns:a16="http://schemas.microsoft.com/office/drawing/2014/main" id="{D7D00006-118D-C7A0-13D5-FC88796DC153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076595" y="6369843"/>
            <a:ext cx="9266892" cy="0"/>
          </a:xfrm>
          <a:prstGeom prst="straightConnector1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AAD39A9F-F214-CF4A-B63B-82D468FA24C7}"/>
              </a:ext>
            </a:extLst>
          </p:cNvPr>
          <p:cNvSpPr txBox="1"/>
          <p:nvPr/>
        </p:nvSpPr>
        <p:spPr>
          <a:xfrm>
            <a:off x="3918757" y="1815708"/>
            <a:ext cx="354918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‘Build’ vs ‘Buy’ decisions – low Capex requirement, compute costs are predictable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8C4FD724-2BAB-29EA-5DE8-DDEA5D590BE7}"/>
              </a:ext>
            </a:extLst>
          </p:cNvPr>
          <p:cNvSpPr txBox="1"/>
          <p:nvPr/>
        </p:nvSpPr>
        <p:spPr>
          <a:xfrm>
            <a:off x="7642305" y="1765285"/>
            <a:ext cx="364613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8B0000"/>
                </a:solidFill>
                <a:latin typeface="Arial"/>
              </a:rPr>
              <a:t>‘Taker’ vs ‘Shaper’ vs ‘Maker’ options – high Capex requirement, variable compute costs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6EDB960E-BB8E-2600-0EC4-B881DEFD1B01}"/>
              </a:ext>
            </a:extLst>
          </p:cNvPr>
          <p:cNvSpPr txBox="1"/>
          <p:nvPr/>
        </p:nvSpPr>
        <p:spPr>
          <a:xfrm>
            <a:off x="3918757" y="3156156"/>
            <a:ext cx="3321964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Web/ mobile dev. frameworks, visual/ tactile UX, ‘systems of record’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B502FAFC-081E-DC44-670B-A4A6CF525908}"/>
              </a:ext>
            </a:extLst>
          </p:cNvPr>
          <p:cNvSpPr txBox="1"/>
          <p:nvPr/>
        </p:nvSpPr>
        <p:spPr>
          <a:xfrm>
            <a:off x="7642304" y="3105039"/>
            <a:ext cx="364613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8B0000"/>
                </a:solidFill>
                <a:latin typeface="Arial"/>
              </a:rPr>
              <a:t>ML frameworks, multimodal UX, ‘agents’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B9AF4628-D526-63BF-8CB9-A4A5192B49DA}"/>
              </a:ext>
            </a:extLst>
          </p:cNvPr>
          <p:cNvSpPr txBox="1"/>
          <p:nvPr/>
        </p:nvSpPr>
        <p:spPr>
          <a:xfrm>
            <a:off x="7642302" y="5115195"/>
            <a:ext cx="364613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8B0000"/>
                </a:solidFill>
                <a:latin typeface="Arial"/>
              </a:rPr>
              <a:t>Exciting – mutual growth synergy for both company performance and employee literacy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B5B39EA3-377F-DB5B-C605-E9B33947646A}"/>
              </a:ext>
            </a:extLst>
          </p:cNvPr>
          <p:cNvSpPr txBox="1"/>
          <p:nvPr/>
        </p:nvSpPr>
        <p:spPr>
          <a:xfrm>
            <a:off x="3918757" y="4519939"/>
            <a:ext cx="3321965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Clear barrier in responsibilities between high-tech teams and other business facing teams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5B14AB72-07DD-D403-8932-F4F19ADDCE63}"/>
              </a:ext>
            </a:extLst>
          </p:cNvPr>
          <p:cNvSpPr txBox="1"/>
          <p:nvPr/>
        </p:nvSpPr>
        <p:spPr>
          <a:xfrm>
            <a:off x="7642302" y="4452101"/>
            <a:ext cx="364613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8B0000"/>
                </a:solidFill>
                <a:latin typeface="Arial"/>
              </a:rPr>
              <a:t>Natural language makes end-user perspective very approachable – giving everyone a role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9C26E0D8-3FF2-87B0-B30A-9773176B1763}"/>
              </a:ext>
            </a:extLst>
          </p:cNvPr>
          <p:cNvSpPr txBox="1"/>
          <p:nvPr/>
        </p:nvSpPr>
        <p:spPr>
          <a:xfrm>
            <a:off x="3918757" y="5891182"/>
            <a:ext cx="3321965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Digital-first thinking while still maintaining corporate norms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5D355B48-8DBA-4EB0-ADD3-919734DEFD13}"/>
              </a:ext>
            </a:extLst>
          </p:cNvPr>
          <p:cNvSpPr txBox="1"/>
          <p:nvPr/>
        </p:nvSpPr>
        <p:spPr>
          <a:xfrm>
            <a:off x="7642302" y="5842031"/>
            <a:ext cx="364613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8B0000"/>
                </a:solidFill>
                <a:latin typeface="Arial"/>
              </a:rPr>
              <a:t>Reimagined thinking – more like ‘startup’ culture 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ED164229-DB95-9AEA-0587-641168F63181}"/>
              </a:ext>
            </a:extLst>
          </p:cNvPr>
          <p:cNvSpPr txBox="1"/>
          <p:nvPr/>
        </p:nvSpPr>
        <p:spPr>
          <a:xfrm>
            <a:off x="3918757" y="5201949"/>
            <a:ext cx="3153523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Perceived as periodic corporate mandat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DF7812D-8855-70A7-C59D-0A9016D9D8C8}"/>
              </a:ext>
            </a:extLst>
          </p:cNvPr>
          <p:cNvSpPr txBox="1"/>
          <p:nvPr/>
        </p:nvSpPr>
        <p:spPr>
          <a:xfrm>
            <a:off x="3918757" y="2509035"/>
            <a:ext cx="354918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Structured data, static architectur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EB08F37-618F-A26D-19BD-E0F292F98D33}"/>
              </a:ext>
            </a:extLst>
          </p:cNvPr>
          <p:cNvSpPr txBox="1"/>
          <p:nvPr/>
        </p:nvSpPr>
        <p:spPr>
          <a:xfrm>
            <a:off x="7642305" y="2471712"/>
            <a:ext cx="3646137" cy="182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8B0000"/>
                </a:solidFill>
                <a:latin typeface="Arial"/>
              </a:rPr>
              <a:t>Unstructured data, dynamic architectures 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4FD0FAD-7628-910B-C4C8-67CD395285FB}"/>
              </a:ext>
            </a:extLst>
          </p:cNvPr>
          <p:cNvSpPr txBox="1"/>
          <p:nvPr/>
        </p:nvSpPr>
        <p:spPr>
          <a:xfrm>
            <a:off x="3918757" y="3856969"/>
            <a:ext cx="3321963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R="0" lvl="0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lvl="1" indent="-28575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1143000" marR="0" lvl="2" indent="-2286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kumimoji="0" lang="en-US" sz="1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lang="de-DE" sz="2000" dirty="0" smtClean="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>
                    <a:lumMod val="50000"/>
                  </a:schemeClr>
                </a:solidFill>
              </a:rPr>
              <a:t>Established security and compliance protocol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71E00DA-A243-027B-5C90-BFA87C226BA9}"/>
              </a:ext>
            </a:extLst>
          </p:cNvPr>
          <p:cNvSpPr txBox="1"/>
          <p:nvPr/>
        </p:nvSpPr>
        <p:spPr>
          <a:xfrm>
            <a:off x="7642303" y="3795436"/>
            <a:ext cx="364613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8B0000"/>
                </a:solidFill>
                <a:latin typeface="Arial"/>
              </a:rPr>
              <a:t>Data privacy, model security, ethical, and regulatory concerns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782D8E5-A2CF-4264-8053-5D136D73EF03}"/>
              </a:ext>
            </a:extLst>
          </p:cNvPr>
          <p:cNvCxnSpPr/>
          <p:nvPr/>
        </p:nvCxnSpPr>
        <p:spPr>
          <a:xfrm flipH="1">
            <a:off x="1304192" y="1976846"/>
            <a:ext cx="60703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31167780-AC4E-70AC-F4ED-CC2AAB302C72}"/>
              </a:ext>
            </a:extLst>
          </p:cNvPr>
          <p:cNvCxnSpPr>
            <a:cxnSpLocks/>
          </p:cNvCxnSpPr>
          <p:nvPr/>
        </p:nvCxnSpPr>
        <p:spPr>
          <a:xfrm>
            <a:off x="1304192" y="1976846"/>
            <a:ext cx="0" cy="188204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2D0E62C-0131-04CF-399E-E5F37B44CAA6}"/>
              </a:ext>
            </a:extLst>
          </p:cNvPr>
          <p:cNvCxnSpPr/>
          <p:nvPr/>
        </p:nvCxnSpPr>
        <p:spPr>
          <a:xfrm flipH="1">
            <a:off x="1304192" y="3858890"/>
            <a:ext cx="60703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FEBD4642-98F4-8C68-A00A-BB43DDC71297}"/>
              </a:ext>
            </a:extLst>
          </p:cNvPr>
          <p:cNvSpPr txBox="1"/>
          <p:nvPr/>
        </p:nvSpPr>
        <p:spPr>
          <a:xfrm>
            <a:off x="898832" y="1976846"/>
            <a:ext cx="400110" cy="1882043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7474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ical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E42809D-136B-EEF2-4A20-0E6C5B5EF52A}"/>
              </a:ext>
            </a:extLst>
          </p:cNvPr>
          <p:cNvCxnSpPr/>
          <p:nvPr/>
        </p:nvCxnSpPr>
        <p:spPr>
          <a:xfrm flipH="1">
            <a:off x="1304190" y="4071615"/>
            <a:ext cx="60703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13E2965-DEDE-1A21-BB65-6527C7CAB716}"/>
              </a:ext>
            </a:extLst>
          </p:cNvPr>
          <p:cNvCxnSpPr/>
          <p:nvPr/>
        </p:nvCxnSpPr>
        <p:spPr>
          <a:xfrm flipH="1">
            <a:off x="1304190" y="6029319"/>
            <a:ext cx="60703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E014CAD-00D7-1EAF-9917-D74A777AFB48}"/>
              </a:ext>
            </a:extLst>
          </p:cNvPr>
          <p:cNvCxnSpPr>
            <a:cxnSpLocks/>
          </p:cNvCxnSpPr>
          <p:nvPr/>
        </p:nvCxnSpPr>
        <p:spPr>
          <a:xfrm>
            <a:off x="1304190" y="4071615"/>
            <a:ext cx="0" cy="195770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72291E0C-0EB5-9B01-A0A7-6F3026380063}"/>
              </a:ext>
            </a:extLst>
          </p:cNvPr>
          <p:cNvSpPr txBox="1"/>
          <p:nvPr/>
        </p:nvSpPr>
        <p:spPr>
          <a:xfrm>
            <a:off x="898832" y="4071616"/>
            <a:ext cx="400110" cy="1957700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7474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ltural</a:t>
            </a:r>
          </a:p>
        </p:txBody>
      </p:sp>
    </p:spTree>
    <p:extLst>
      <p:ext uri="{BB962C8B-B14F-4D97-AF65-F5344CB8AC3E}">
        <p14:creationId xmlns:p14="http://schemas.microsoft.com/office/powerpoint/2010/main" val="41141440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LW4.F3eFIOU.t0YHu.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fXxDYe6AMMlpADioB49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McOSX5uinisogGcdQk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lMqkrv1aF5MTAH2MgsB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ywxeT7GgiUa8OmDDq6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lMqkrv1aF5MTAH2MgsB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lMqkrv1aF5MTAH2MgsB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606</TotalTime>
  <Words>1658</Words>
  <Application>Microsoft Office PowerPoint</Application>
  <PresentationFormat>Widescreen</PresentationFormat>
  <Paragraphs>268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3" baseType="lpstr">
      <vt:lpstr>Aptos</vt:lpstr>
      <vt:lpstr>Aptos Display</vt:lpstr>
      <vt:lpstr>Arial</vt:lpstr>
      <vt:lpstr>Calibri</vt:lpstr>
      <vt:lpstr>Georgia</vt:lpstr>
      <vt:lpstr>Verdana</vt:lpstr>
      <vt:lpstr>Wingdings</vt:lpstr>
      <vt:lpstr>Office Theme</vt:lpstr>
      <vt:lpstr>Diapositiva de think-cell</vt:lpstr>
      <vt:lpstr>PowerPoint Presentation</vt:lpstr>
      <vt:lpstr>PowerPoint Presentation</vt:lpstr>
      <vt:lpstr>83%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oundation</vt:lpstr>
      <vt:lpstr>Roadmap Development</vt:lpstr>
      <vt:lpstr>Prepar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prietary &amp; Confidential</dc:title>
  <dc:creator>Daniel Cole</dc:creator>
  <cp:lastModifiedBy>Daniel Cole</cp:lastModifiedBy>
  <cp:revision>1</cp:revision>
  <dcterms:created xsi:type="dcterms:W3CDTF">2024-03-18T14:31:15Z</dcterms:created>
  <dcterms:modified xsi:type="dcterms:W3CDTF">2024-10-13T13:41:19Z</dcterms:modified>
</cp:coreProperties>
</file>